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2.xml" ContentType="application/vnd.openxmlformats-officedocument.drawingml.chartshape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3.xml" ContentType="application/vnd.openxmlformats-officedocument.presentationml.notesSlide+xml"/>
  <Override PartName="/ppt/charts/chart4.xml" ContentType="application/vnd.openxmlformats-officedocument.drawingml.chart+xml"/>
  <Override PartName="/ppt/drawings/drawing3.xml" ContentType="application/vnd.openxmlformats-officedocument.drawingml.chartshapes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drawings/drawing4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41" r:id="rId2"/>
  </p:sldMasterIdLst>
  <p:notesMasterIdLst>
    <p:notesMasterId r:id="rId6"/>
  </p:notesMasterIdLst>
  <p:handoutMasterIdLst>
    <p:handoutMasterId r:id="rId7"/>
  </p:handoutMasterIdLst>
  <p:sldIdLst>
    <p:sldId id="436" r:id="rId3"/>
    <p:sldId id="287" r:id="rId4"/>
    <p:sldId id="437" r:id="rId5"/>
  </p:sldIdLst>
  <p:sldSz cx="12188825" cy="6858000"/>
  <p:notesSz cx="9144000" cy="6858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3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reston, Ryan" initials="PR" lastIdx="1" clrIdx="0">
    <p:extLst>
      <p:ext uri="{19B8F6BF-5375-455C-9EA6-DF929625EA0E}">
        <p15:presenceInfo xmlns:p15="http://schemas.microsoft.com/office/powerpoint/2012/main" userId="S::ryan.preston@metlife.com::d881c2f4-0196-4140-a089-10a3eb1a97c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CABB"/>
    <a:srgbClr val="B2DAE1"/>
    <a:srgbClr val="E5B2CF"/>
    <a:srgbClr val="00A3AD"/>
    <a:srgbClr val="0061A0"/>
    <a:srgbClr val="E46B95"/>
    <a:srgbClr val="00859B"/>
    <a:srgbClr val="00A78E"/>
    <a:srgbClr val="F9F9F9"/>
    <a:srgbClr val="FAFA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687" autoAdjust="0"/>
    <p:restoredTop sz="96357" autoAdjust="0"/>
  </p:normalViewPr>
  <p:slideViewPr>
    <p:cSldViewPr snapToGrid="0">
      <p:cViewPr>
        <p:scale>
          <a:sx n="80" d="100"/>
          <a:sy n="80" d="100"/>
        </p:scale>
        <p:origin x="2154" y="750"/>
      </p:cViewPr>
      <p:guideLst>
        <p:guide orient="horz" pos="2160"/>
        <p:guide pos="383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7" d="100"/>
        <a:sy n="67" d="100"/>
      </p:scale>
      <p:origin x="0" y="0"/>
    </p:cViewPr>
  </p:sorterViewPr>
  <p:notesViewPr>
    <p:cSldViewPr snapToGrid="0" snapToObjects="1">
      <p:cViewPr varScale="1">
        <p:scale>
          <a:sx n="125" d="100"/>
          <a:sy n="125" d="100"/>
        </p:scale>
        <p:origin x="-2312" y="-104"/>
      </p:cViewPr>
      <p:guideLst>
        <p:guide orient="horz" pos="2160"/>
        <p:guide pos="288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1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gb-lon-file-05\mel\hr\Reporting\DE&amp;I\DE&amp;I%20for%20AIB%20&amp;%20Women%20in%20Finance%20Charter%202023.xlsx" TargetMode="Externa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\\gb-lon-file-05\mel\hr\Reporting\DE&amp;I\DE&amp;I%20for%20AIB%20&amp;%20Women%20in%20Finance%20Charter%202023.xlsx" TargetMode="Externa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\\gb-lon-file-05\mel\hr\Reporting\DE&amp;I\DE&amp;I%20for%20AIB%20&amp;%20Women%20in%20Finance%20Charter%202023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oleObject" Target="file:///\\gb-lon-file-05\mel\hr\Reporting\DE&amp;I\2023%20WIF%20Data%20and%20Graphs%202023.xlsx" TargetMode="Externa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\\gb-lon-file-05\mel\hr\Reporting\DE&amp;I\2023%20WIF%20Data%20and%20Graphs%202023.xlsx" TargetMode="Externa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chartUserShapes" Target="../drawings/drawing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en-GB" sz="10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Total Number of Staff Leaders at GG9+</a:t>
            </a:r>
          </a:p>
        </c:rich>
      </c:tx>
      <c:layout>
        <c:manualLayout>
          <c:xMode val="edge"/>
          <c:yMode val="edge"/>
          <c:x val="0.21175003031930559"/>
          <c:y val="6.709665805262696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spPr>
            <a:solidFill>
              <a:srgbClr val="92D050"/>
            </a:solidFill>
          </c:spPr>
          <c:dPt>
            <c:idx val="0"/>
            <c:bubble3D val="0"/>
            <c:spPr>
              <a:solidFill>
                <a:srgbClr val="92D050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2441-4C89-9F1F-A245111BC509}"/>
              </c:ext>
            </c:extLst>
          </c:dPt>
          <c:dPt>
            <c:idx val="1"/>
            <c:bubble3D val="0"/>
            <c:spPr>
              <a:solidFill>
                <a:srgbClr val="00B0F0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2441-4C89-9F1F-A245111BC50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M$79:$M$80</c:f>
              <c:strCache>
                <c:ptCount val="2"/>
                <c:pt idx="0">
                  <c:v>Female </c:v>
                </c:pt>
                <c:pt idx="1">
                  <c:v>Male </c:v>
                </c:pt>
              </c:strCache>
            </c:strRef>
          </c:cat>
          <c:val>
            <c:numRef>
              <c:f>Sheet1!$N$79:$N$80</c:f>
              <c:numCache>
                <c:formatCode>0%</c:formatCode>
                <c:ptCount val="2"/>
                <c:pt idx="0">
                  <c:v>0.43</c:v>
                </c:pt>
                <c:pt idx="1">
                  <c:v>0.56999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441-4C89-9F1F-A245111BC509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1274183784122078"/>
          <c:y val="0.25991969483651883"/>
          <c:w val="0.15952270672048346"/>
          <c:h val="0.15725462874060236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sz="1000" dirty="0">
                <a:solidFill>
                  <a:sysClr val="windowText" lastClr="000000"/>
                </a:solidFill>
                <a:latin typeface="+mn-lt"/>
                <a:cs typeface="Calibri" panose="020F0502020204030204" pitchFamily="34" charset="0"/>
              </a:rPr>
              <a:t>Split of Employees in UK Branch </a:t>
            </a:r>
          </a:p>
        </c:rich>
      </c:tx>
      <c:layout>
        <c:manualLayout>
          <c:xMode val="edge"/>
          <c:yMode val="edge"/>
          <c:x val="0.2650215186725024"/>
          <c:y val="6.557357633914698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12292227118332601"/>
          <c:y val="0.27251623445225459"/>
          <c:w val="0.79191950489252561"/>
          <c:h val="0.63684504608565407"/>
        </c:manualLayout>
      </c:layout>
      <c:pie3DChart>
        <c:varyColors val="1"/>
        <c:ser>
          <c:idx val="0"/>
          <c:order val="0"/>
          <c:spPr>
            <a:solidFill>
              <a:srgbClr val="00B0F0"/>
            </a:solidFill>
          </c:spPr>
          <c:dPt>
            <c:idx val="0"/>
            <c:bubble3D val="0"/>
            <c:spPr>
              <a:solidFill>
                <a:srgbClr val="FFCCCC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A2B5-4947-934F-10B0D267A9AC}"/>
              </c:ext>
            </c:extLst>
          </c:dPt>
          <c:dPt>
            <c:idx val="1"/>
            <c:bubble3D val="0"/>
            <c:spPr>
              <a:solidFill>
                <a:srgbClr val="00B0F0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A2B5-4947-934F-10B0D267A9A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M$54:$M$55</c:f>
              <c:strCache>
                <c:ptCount val="2"/>
                <c:pt idx="0">
                  <c:v>Female </c:v>
                </c:pt>
                <c:pt idx="1">
                  <c:v>Male </c:v>
                </c:pt>
              </c:strCache>
            </c:strRef>
          </c:cat>
          <c:val>
            <c:numRef>
              <c:f>Sheet1!$N$54:$N$55</c:f>
              <c:numCache>
                <c:formatCode>0%</c:formatCode>
                <c:ptCount val="2"/>
                <c:pt idx="0">
                  <c:v>0.46</c:v>
                </c:pt>
                <c:pt idx="1">
                  <c:v>0.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2B5-4947-934F-10B0D267A9AC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8111625461472622"/>
          <c:y val="0.23226794006752033"/>
          <c:w val="0.21105745053682118"/>
          <c:h val="0.19530081277908465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en-GB" sz="1000" dirty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Total Number of Staff Leaders at GG13+</a:t>
            </a:r>
          </a:p>
        </c:rich>
      </c:tx>
      <c:layout>
        <c:manualLayout>
          <c:xMode val="edge"/>
          <c:yMode val="edge"/>
          <c:x val="0.20174438003028014"/>
          <c:y val="4.584830327974471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9.8611111111111108E-2"/>
          <c:y val="0.21277486147564889"/>
          <c:w val="0.81388888888888888"/>
          <c:h val="0.66745953630796151"/>
        </c:manualLayout>
      </c:layout>
      <c:pie3DChart>
        <c:varyColors val="1"/>
        <c:ser>
          <c:idx val="0"/>
          <c:order val="0"/>
          <c:spPr>
            <a:solidFill>
              <a:srgbClr val="B2DAE1"/>
            </a:solidFill>
          </c:spPr>
          <c:dPt>
            <c:idx val="0"/>
            <c:bubble3D val="0"/>
            <c:spPr>
              <a:solidFill>
                <a:srgbClr val="66CABB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A3F4-4A44-9A5D-B718332F1DE7}"/>
              </c:ext>
            </c:extLst>
          </c:dPt>
          <c:dPt>
            <c:idx val="1"/>
            <c:bubble3D val="0"/>
            <c:spPr>
              <a:solidFill>
                <a:srgbClr val="B2DAE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A3F4-4A44-9A5D-B718332F1DE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Graphs 2023'!$N$127:$N$128</c:f>
              <c:strCache>
                <c:ptCount val="2"/>
                <c:pt idx="0">
                  <c:v>Female </c:v>
                </c:pt>
                <c:pt idx="1">
                  <c:v>Male </c:v>
                </c:pt>
              </c:strCache>
            </c:strRef>
          </c:cat>
          <c:val>
            <c:numRef>
              <c:f>'Graphs 2023'!$O$127:$O$128</c:f>
              <c:numCache>
                <c:formatCode>0.0%</c:formatCode>
                <c:ptCount val="2"/>
                <c:pt idx="0">
                  <c:v>0.375</c:v>
                </c:pt>
                <c:pt idx="1">
                  <c:v>0.6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3F4-4A44-9A5D-B718332F1D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3981095284216245"/>
          <c:y val="0.25302667682349106"/>
          <c:w val="0.14965999212994593"/>
          <c:h val="0.20396930971492674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sz="1000" b="0" i="0" baseline="0">
                <a:solidFill>
                  <a:sysClr val="windowText" lastClr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otal number of Exec -1 Accelerate and Progression Talent  </a:t>
            </a:r>
            <a:endParaRPr lang="en-GB" sz="1000">
              <a:solidFill>
                <a:sysClr val="windowText" lastClr="00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c:rich>
      </c:tx>
      <c:layout>
        <c:manualLayout>
          <c:xMode val="edge"/>
          <c:yMode val="edge"/>
          <c:x val="0.13316261145499952"/>
          <c:y val="5.0925929712271931E-2"/>
        </c:manualLayout>
      </c:layout>
      <c:overlay val="0"/>
      <c:spPr>
        <a:noFill/>
        <a:ln>
          <a:noFill/>
        </a:ln>
        <a:effectLst/>
      </c:spPr>
    </c:title>
    <c:autoTitleDeleted val="0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1"/>
          <c:order val="0"/>
          <c:tx>
            <c:strRef>
              <c:f>'Graphs 2023'!$N$141</c:f>
              <c:strCache>
                <c:ptCount val="1"/>
                <c:pt idx="0">
                  <c:v>Female </c:v>
                </c:pt>
              </c:strCache>
            </c:strRef>
          </c:tx>
          <c:spPr>
            <a:solidFill>
              <a:srgbClr val="FFCCCC"/>
            </a:solidFill>
          </c:spPr>
          <c:dLbls>
            <c:spPr>
              <a:noFill/>
              <a:ln>
                <a:noFill/>
              </a:ln>
              <a:effectLst/>
            </c:sp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val>
            <c:numRef>
              <c:f>'Graphs 2023'!$O$141</c:f>
              <c:numCache>
                <c:formatCode>0%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158-4FDE-9342-7517F8582D5C}"/>
            </c:ext>
          </c:extLst>
        </c:ser>
        <c:ser>
          <c:idx val="0"/>
          <c:order val="1"/>
          <c:spPr>
            <a:solidFill>
              <a:srgbClr val="FFCCCC"/>
            </a:solidFill>
          </c:spPr>
          <c:dPt>
            <c:idx val="0"/>
            <c:bubble3D val="0"/>
            <c:spPr>
              <a:solidFill>
                <a:srgbClr val="FFCCCC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2-9158-4FDE-9342-7517F8582D5C}"/>
              </c:ext>
            </c:extLst>
          </c:dPt>
          <c:dPt>
            <c:idx val="1"/>
            <c:bubble3D val="0"/>
            <c:spPr>
              <a:solidFill>
                <a:srgbClr val="FFCCCC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4-9158-4FDE-9342-7517F8582D5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Graphs 2023'!$N$141:$N$142</c:f>
              <c:strCache>
                <c:ptCount val="2"/>
                <c:pt idx="0">
                  <c:v>Female </c:v>
                </c:pt>
                <c:pt idx="1">
                  <c:v>Male </c:v>
                </c:pt>
              </c:strCache>
            </c:strRef>
          </c:cat>
          <c:val>
            <c:numRef>
              <c:f>'Graphs 2023'!$O$141:$O$142</c:f>
              <c:numCache>
                <c:formatCode>0%</c:formatCode>
                <c:ptCount val="2"/>
                <c:pt idx="0">
                  <c:v>1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158-4FDE-9342-7517F8582D5C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</c:pie3DChart>
    </c:plotArea>
    <c:legend>
      <c:legendPos val="r"/>
      <c:layout>
        <c:manualLayout>
          <c:xMode val="edge"/>
          <c:yMode val="edge"/>
          <c:x val="0.84005096237970267"/>
          <c:y val="0.23947871099445908"/>
          <c:w val="0.13209776902887138"/>
          <c:h val="7.3606709825492195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  <c:extLst/>
  </c:chart>
  <c:spPr>
    <a:ln>
      <a:solidFill>
        <a:schemeClr val="tx1"/>
      </a:solidFill>
    </a:ln>
  </c:spPr>
  <c:txPr>
    <a:bodyPr/>
    <a:lstStyle/>
    <a:p>
      <a:pPr>
        <a:defRPr/>
      </a:pPr>
      <a:endParaRPr lang="en-US"/>
    </a:p>
  </c:txPr>
  <c:externalData r:id="rId1">
    <c:autoUpdate val="0"/>
  </c:externalData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sz="1000" b="0" i="0" baseline="0" dirty="0">
                <a:solidFill>
                  <a:sysClr val="windowText" lastClr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otal number of attendees at developmental events and training  </a:t>
            </a:r>
            <a:endParaRPr lang="en-GB" sz="1000" dirty="0">
              <a:solidFill>
                <a:sysClr val="windowText" lastClr="00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c:rich>
      </c:tx>
      <c:layout>
        <c:manualLayout>
          <c:xMode val="edge"/>
          <c:yMode val="edge"/>
          <c:x val="0.1661715992099414"/>
          <c:y val="6.769595908129190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dPt>
            <c:idx val="0"/>
            <c:bubble3D val="0"/>
            <c:spPr>
              <a:solidFill>
                <a:srgbClr val="92D050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B9FC-4D23-9ADB-5D4F2E47AE79}"/>
              </c:ext>
            </c:extLst>
          </c:dPt>
          <c:dPt>
            <c:idx val="1"/>
            <c:bubble3D val="0"/>
            <c:spPr>
              <a:solidFill>
                <a:srgbClr val="00B0F0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B9FC-4D23-9ADB-5D4F2E47AE7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Graphs 2023'!$M$165:$M$166</c:f>
              <c:strCache>
                <c:ptCount val="2"/>
                <c:pt idx="0">
                  <c:v>Female </c:v>
                </c:pt>
                <c:pt idx="1">
                  <c:v>Male </c:v>
                </c:pt>
              </c:strCache>
            </c:strRef>
          </c:cat>
          <c:val>
            <c:numRef>
              <c:f>'Graphs 2023'!$N$165:$N$166</c:f>
              <c:numCache>
                <c:formatCode>0%</c:formatCode>
                <c:ptCount val="2"/>
                <c:pt idx="0">
                  <c:v>0.6</c:v>
                </c:pt>
                <c:pt idx="1">
                  <c:v>0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9FC-4D23-9ADB-5D4F2E47AE79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1971496020967927"/>
          <c:y val="0.21932815689705457"/>
          <c:w val="0.13558715889988937"/>
          <c:h val="0.12878751512812533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.21319</cdr:y>
    </cdr:from>
    <cdr:to>
      <cdr:x>0.25334</cdr:x>
      <cdr:y>0.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B79ED4B2-F447-A0DD-D956-F8119981CBD7}"/>
            </a:ext>
          </a:extLst>
        </cdr:cNvPr>
        <cdr:cNvSpPr txBox="1"/>
      </cdr:nvSpPr>
      <cdr:spPr>
        <a:xfrm xmlns:a="http://schemas.openxmlformats.org/drawingml/2006/main">
          <a:off x="0" y="450022"/>
          <a:ext cx="958040" cy="60542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marR="0" lvl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GB" sz="900" dirty="0">
              <a:solidFill>
                <a:schemeClr val="tx1"/>
              </a:solidFill>
              <a:effectLst/>
              <a:cs typeface="Calibri" panose="020F0502020204030204" pitchFamily="34" charset="0"/>
            </a:rPr>
            <a:t>Target of 50% women people leaders at GG9+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</cdr:x>
      <cdr:y>0.23028</cdr:y>
    </cdr:from>
    <cdr:to>
      <cdr:x>0.20406</cdr:x>
      <cdr:y>0.44954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7C3D48FC-3B3C-A4A7-13CA-E39C91E7833F}"/>
            </a:ext>
          </a:extLst>
        </cdr:cNvPr>
        <cdr:cNvSpPr txBox="1"/>
      </cdr:nvSpPr>
      <cdr:spPr>
        <a:xfrm xmlns:a="http://schemas.openxmlformats.org/drawingml/2006/main">
          <a:off x="-701463" y="490443"/>
          <a:ext cx="686252" cy="46696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GB" sz="900" dirty="0">
              <a:solidFill>
                <a:schemeClr val="tx1"/>
              </a:solidFill>
              <a:cs typeface="Calibri" panose="020F0502020204030204" pitchFamily="34" charset="0"/>
            </a:rPr>
            <a:t>Target maintain</a:t>
          </a:r>
        </a:p>
        <a:p xmlns:a="http://schemas.openxmlformats.org/drawingml/2006/main">
          <a:pPr algn="l"/>
          <a:r>
            <a:rPr lang="en-GB" sz="900" dirty="0">
              <a:solidFill>
                <a:schemeClr val="tx1"/>
              </a:solidFill>
              <a:cs typeface="Calibri" panose="020F0502020204030204" pitchFamily="34" charset="0"/>
            </a:rPr>
            <a:t>Male female</a:t>
          </a:r>
        </a:p>
        <a:p xmlns:a="http://schemas.openxmlformats.org/drawingml/2006/main">
          <a:r>
            <a:rPr lang="en-GB" sz="900" dirty="0">
              <a:solidFill>
                <a:schemeClr val="tx1"/>
              </a:solidFill>
              <a:cs typeface="Calibri" panose="020F0502020204030204" pitchFamily="34" charset="0"/>
            </a:rPr>
            <a:t>50/50 split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00069</cdr:x>
      <cdr:y>0.17043</cdr:y>
    </cdr:from>
    <cdr:to>
      <cdr:x>0.25186</cdr:x>
      <cdr:y>0.484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11514F85-1ABD-A0D3-3CAE-46AF7BD4AD0C}"/>
            </a:ext>
          </a:extLst>
        </cdr:cNvPr>
        <cdr:cNvSpPr txBox="1"/>
      </cdr:nvSpPr>
      <cdr:spPr>
        <a:xfrm xmlns:a="http://schemas.openxmlformats.org/drawingml/2006/main">
          <a:off x="3175" y="467518"/>
          <a:ext cx="1148343" cy="86155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GB" sz="90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rPr>
            <a:t>Target of 50% women in Exec-1 Accelerate &amp;</a:t>
          </a:r>
        </a:p>
        <a:p xmlns:a="http://schemas.openxmlformats.org/drawingml/2006/main">
          <a:r>
            <a:rPr lang="en-GB" sz="90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rPr>
            <a:t>Progression</a:t>
          </a:r>
        </a:p>
        <a:p xmlns:a="http://schemas.openxmlformats.org/drawingml/2006/main">
          <a:r>
            <a:rPr lang="en-GB" sz="90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rPr>
            <a:t>Talent</a:t>
          </a: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0046</cdr:x>
      <cdr:y>0.13747</cdr:y>
    </cdr:from>
    <cdr:to>
      <cdr:x>0.19693</cdr:x>
      <cdr:y>0.48826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6D1EE667-30E1-71D4-D48E-0C3ED73847E6}"/>
            </a:ext>
          </a:extLst>
        </cdr:cNvPr>
        <cdr:cNvSpPr txBox="1"/>
      </cdr:nvSpPr>
      <cdr:spPr>
        <a:xfrm xmlns:a="http://schemas.openxmlformats.org/drawingml/2006/main">
          <a:off x="23044" y="338828"/>
          <a:ext cx="963545" cy="86460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GB" sz="90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rPr>
            <a:t>Maintain of 50/50 split of male/female attendees at</a:t>
          </a:r>
          <a:r>
            <a:rPr lang="en-GB" sz="900" baseline="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rPr>
            <a:t> developmental events and training </a:t>
          </a:r>
          <a:endParaRPr lang="en-GB" sz="900" dirty="0">
            <a:solidFill>
              <a:sysClr val="windowText" lastClr="000000"/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00" dirty="0">
              <a:latin typeface="Arial" charset="0"/>
              <a:cs typeface="Arial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541AEF-3112-6549-914A-E0D9B60F40EA}" type="datetimeFigureOut">
              <a:rPr lang="en-US" sz="1000" smtClean="0">
                <a:latin typeface="Arial" charset="0"/>
                <a:cs typeface="Arial" charset="0"/>
              </a:rPr>
              <a:t>9/27/2023</a:t>
            </a:fld>
            <a:endParaRPr lang="en-US" sz="1000" dirty="0">
              <a:latin typeface="Arial" charset="0"/>
              <a:cs typeface="Arial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00" dirty="0">
              <a:latin typeface="Arial" charset="0"/>
              <a:cs typeface="Arial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293638-C25A-9844-8D5B-B0309EC5F961}" type="slidenum">
              <a:rPr lang="en-US" sz="1000" smtClean="0">
                <a:latin typeface="Arial" charset="0"/>
                <a:cs typeface="Arial" charset="0"/>
              </a:rPr>
              <a:t>‹#›</a:t>
            </a:fld>
            <a:endParaRPr lang="en-US" sz="1000" dirty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68346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 b="0" i="0">
                <a:latin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 b="0" i="0">
                <a:latin typeface="Arial" charset="0"/>
                <a:cs typeface="Arial" charset="0"/>
              </a:defRPr>
            </a:lvl1pPr>
          </a:lstStyle>
          <a:p>
            <a:fld id="{EC2C7003-A6A9-A249-88AD-8CFDA7DED64B}" type="datetimeFigureOut">
              <a:rPr lang="en-US" smtClean="0"/>
              <a:pPr/>
              <a:t>9/27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86000" y="514350"/>
            <a:ext cx="4572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 b="0" i="0">
                <a:latin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 b="0" i="0">
                <a:latin typeface="Arial" charset="0"/>
                <a:cs typeface="Arial" charset="0"/>
              </a:defRPr>
            </a:lvl1pPr>
          </a:lstStyle>
          <a:p>
            <a:fld id="{50AD15A5-6128-B84F-818D-8AA5BDD9AF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2699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b="0" i="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defTabSz="457200" rtl="0" eaLnBrk="1" latinLnBrk="0" hangingPunct="1">
      <a:defRPr sz="1200" b="0" i="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defTabSz="457200" rtl="0" eaLnBrk="1" latinLnBrk="0" hangingPunct="1">
      <a:defRPr sz="1200" b="0" i="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defTabSz="457200" rtl="0" eaLnBrk="1" latinLnBrk="0" hangingPunct="1">
      <a:defRPr sz="1200" b="0" i="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defTabSz="457200" rtl="0" eaLnBrk="1" latinLnBrk="0" hangingPunct="1">
      <a:defRPr sz="1200" b="0" i="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64976E-3E97-4431-AA0E-54184CC7CD2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488199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64976E-3E97-4431-AA0E-54184CC7CD2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03202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64976E-3E97-4431-AA0E-54184CC7CD2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18090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4" Type="http://schemas.openxmlformats.org/officeDocument/2006/relationships/image" Target="../media/image3.emf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0357338" cy="621792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55613" y="3987483"/>
            <a:ext cx="6794350" cy="1215588"/>
          </a:xfrm>
        </p:spPr>
        <p:txBody>
          <a:bodyPr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rgbClr val="FFFFFF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613" y="5345291"/>
            <a:ext cx="5193792" cy="335328"/>
          </a:xfr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rgbClr val="FFFFFF"/>
                </a:solidFill>
                <a:latin typeface="+mn-lt"/>
                <a:cs typeface="Arial" charset="0"/>
              </a:defRPr>
            </a:lvl1pPr>
            <a:lvl2pPr marL="456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5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10357338" y="0"/>
            <a:ext cx="455612" cy="62179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" charset="0"/>
              <a:cs typeface="Arial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10815764" y="0"/>
            <a:ext cx="1373061" cy="62179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1509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Text | Imag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6075981" y="0"/>
            <a:ext cx="6112843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5394960" cy="7315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200" y="1371600"/>
            <a:ext cx="5394960" cy="48387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67048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Header | Text | Imag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5394960" cy="7315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200" y="1371600"/>
            <a:ext cx="5394960" cy="4838700"/>
          </a:xfrm>
        </p:spPr>
        <p:txBody>
          <a:bodyPr/>
          <a:lstStyle>
            <a:lvl1pPr>
              <a:defRPr sz="2000" b="1" i="0">
                <a:solidFill>
                  <a:schemeClr val="tx2"/>
                </a:solidFill>
                <a:latin typeface="+mn-lt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>
                <a:latin typeface="+mn-lt"/>
              </a:defRPr>
            </a:lvl2pPr>
            <a:lvl3pPr marL="200025" indent="-200025">
              <a:spcBef>
                <a:spcPts val="600"/>
              </a:spcBef>
              <a:buFont typeface="Arial"/>
              <a:buChar char="•"/>
              <a:defRPr sz="1800">
                <a:latin typeface="+mn-lt"/>
              </a:defRPr>
            </a:lvl3pPr>
            <a:lvl4pPr marL="398463" indent="-200025">
              <a:buFont typeface="Lucida Grande"/>
              <a:buChar char="-"/>
              <a:defRPr sz="1600">
                <a:latin typeface="+mn-lt"/>
              </a:defRPr>
            </a:lvl4pPr>
            <a:lvl5pPr>
              <a:defRPr sz="180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6075981" y="0"/>
            <a:ext cx="6112843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 dirty="0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195031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88825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FBD4629-B2F8-DD40-968A-B631872631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78" b="-5722"/>
          <a:stretch/>
        </p:blipFill>
        <p:spPr>
          <a:xfrm>
            <a:off x="273965" y="6215044"/>
            <a:ext cx="1676755" cy="69375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pposing Id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/>
          <p:cNvSpPr>
            <a:spLocks noGrp="1"/>
          </p:cNvSpPr>
          <p:nvPr>
            <p:ph type="pic" sz="quarter" idx="12" hasCustomPrompt="1"/>
          </p:nvPr>
        </p:nvSpPr>
        <p:spPr>
          <a:xfrm>
            <a:off x="8352" y="0"/>
            <a:ext cx="6091100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6097725" y="0"/>
            <a:ext cx="6091100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88944" y="1504121"/>
            <a:ext cx="2910508" cy="3657600"/>
          </a:xfrm>
          <a:solidFill>
            <a:schemeClr val="tx2"/>
          </a:solidFill>
        </p:spPr>
        <p:txBody>
          <a:bodyPr lIns="182880" rIns="182880" anchor="ctr"/>
          <a:lstStyle>
            <a:lvl1pPr algn="r">
              <a:lnSpc>
                <a:spcPct val="90000"/>
              </a:lnSpc>
              <a:defRPr sz="2000" b="1" i="0" baseline="0">
                <a:solidFill>
                  <a:schemeClr val="bg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Opposing ideas </a:t>
            </a:r>
            <a:br>
              <a:rPr lang="en-US" dirty="0"/>
            </a:br>
            <a:r>
              <a:rPr lang="en-US" dirty="0"/>
              <a:t>with statements supported by graphics/imag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097725" y="1504121"/>
            <a:ext cx="2907792" cy="3657600"/>
          </a:xfrm>
          <a:solidFill>
            <a:schemeClr val="accent4"/>
          </a:solidFill>
        </p:spPr>
        <p:txBody>
          <a:bodyPr lIns="182880" rIns="182880" anchor="ctr"/>
          <a:lstStyle>
            <a:lvl1pPr algn="l">
              <a:lnSpc>
                <a:spcPct val="90000"/>
              </a:lnSpc>
              <a:defRPr sz="2000" b="1" i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  <a:lvl2pPr>
              <a:defRPr b="1" i="0">
                <a:latin typeface="MetLife Circular" charset="0"/>
                <a:ea typeface="MetLife Circular" charset="0"/>
                <a:cs typeface="MetLife Circular" charset="0"/>
              </a:defRPr>
            </a:lvl2pPr>
            <a:lvl3pPr>
              <a:defRPr b="1" i="0">
                <a:latin typeface="MetLife Circular" charset="0"/>
                <a:ea typeface="MetLife Circular" charset="0"/>
                <a:cs typeface="MetLife Circular" charset="0"/>
              </a:defRPr>
            </a:lvl3pPr>
            <a:lvl4pPr>
              <a:defRPr b="1" i="0">
                <a:latin typeface="MetLife Circular" charset="0"/>
                <a:ea typeface="MetLife Circular" charset="0"/>
                <a:cs typeface="MetLife Circular" charset="0"/>
              </a:defRPr>
            </a:lvl4pPr>
            <a:lvl5pPr>
              <a:defRPr b="1" i="0">
                <a:latin typeface="MetLife Circular" charset="0"/>
                <a:ea typeface="MetLife Circular" charset="0"/>
                <a:cs typeface="MetLife Circular" charset="0"/>
              </a:defRPr>
            </a:lvl5pPr>
          </a:lstStyle>
          <a:p>
            <a:pPr algn="l"/>
            <a:r>
              <a:rPr lang="en-US" dirty="0">
                <a:solidFill>
                  <a:schemeClr val="tx1"/>
                </a:solidFill>
              </a:rPr>
              <a:t>Opposing ideas 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</a:rPr>
              <a:t>with statements supported by graphics/images</a:t>
            </a:r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CF153760-0266-D144-95C5-71B72E3DF8A8}"/>
              </a:ext>
            </a:extLst>
          </p:cNvPr>
          <p:cNvSpPr txBox="1">
            <a:spLocks/>
          </p:cNvSpPr>
          <p:nvPr userDrawn="1"/>
        </p:nvSpPr>
        <p:spPr>
          <a:xfrm>
            <a:off x="11454523" y="6418626"/>
            <a:ext cx="734302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 dirty="0">
                <a:solidFill>
                  <a:schemeClr val="bg2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 dirty="0">
              <a:solidFill>
                <a:schemeClr val="bg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48391368-8E4D-9147-B145-DF1372B4EE6E}"/>
              </a:ext>
            </a:extLst>
          </p:cNvPr>
          <p:cNvSpPr txBox="1">
            <a:spLocks/>
          </p:cNvSpPr>
          <p:nvPr userDrawn="1"/>
        </p:nvSpPr>
        <p:spPr>
          <a:xfrm>
            <a:off x="8921749" y="6418626"/>
            <a:ext cx="253277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 dirty="0">
                <a:solidFill>
                  <a:schemeClr val="bg2"/>
                </a:solidFill>
                <a:latin typeface="Arial" charset="0"/>
                <a:cs typeface="Arial" charset="0"/>
              </a:rPr>
              <a:t>Confidential Proprietary Information</a:t>
            </a:r>
            <a:endParaRPr lang="en-US" sz="800" b="0" i="0" dirty="0">
              <a:solidFill>
                <a:schemeClr val="bg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80101C57-35E1-494B-BF13-8B3A6E812463}"/>
              </a:ext>
            </a:extLst>
          </p:cNvPr>
          <p:cNvSpPr txBox="1">
            <a:spLocks/>
          </p:cNvSpPr>
          <p:nvPr userDrawn="1"/>
        </p:nvSpPr>
        <p:spPr>
          <a:xfrm>
            <a:off x="6026150" y="6418626"/>
            <a:ext cx="2895598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b="0" i="0" dirty="0">
                <a:solidFill>
                  <a:schemeClr val="tx1"/>
                </a:solidFill>
                <a:latin typeface="Arial" charset="0"/>
                <a:cs typeface="Arial" charset="0"/>
              </a:rPr>
              <a:t>Presentation Title</a:t>
            </a:r>
            <a:endParaRPr lang="en-US" sz="800" b="0" i="0" dirty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1091383-DEC4-204D-8A36-56BD8FFBC3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3" t="-15502" r="-13612" b="-18252"/>
          <a:stretch/>
        </p:blipFill>
        <p:spPr>
          <a:xfrm>
            <a:off x="457200" y="6356196"/>
            <a:ext cx="1490546" cy="379142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Col | Title |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9454896" cy="7315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200" y="1371600"/>
            <a:ext cx="3884918" cy="48387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420384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Col | Title | Header |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9454896" cy="7315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200" y="1371600"/>
            <a:ext cx="3886200" cy="4838700"/>
          </a:xfrm>
        </p:spPr>
        <p:txBody>
          <a:bodyPr/>
          <a:lstStyle>
            <a:lvl1pPr>
              <a:spcBef>
                <a:spcPts val="1800"/>
              </a:spcBef>
              <a:defRPr sz="2000" b="1" i="0">
                <a:solidFill>
                  <a:schemeClr val="tx2"/>
                </a:solidFill>
                <a:latin typeface="+mn-lt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>
                <a:latin typeface="+mn-lt"/>
              </a:defRPr>
            </a:lvl2pPr>
            <a:lvl3pPr marL="200025" indent="-200025">
              <a:spcBef>
                <a:spcPts val="600"/>
              </a:spcBef>
              <a:buFont typeface="Arial"/>
              <a:buChar char="•"/>
              <a:defRPr sz="1800">
                <a:latin typeface="+mn-lt"/>
              </a:defRPr>
            </a:lvl3pPr>
            <a:lvl4pPr marL="398463" indent="-200025">
              <a:buFont typeface="Lucida Grande"/>
              <a:buChar char="-"/>
              <a:defRPr sz="1600">
                <a:latin typeface="+mn-lt"/>
              </a:defRPr>
            </a:lvl4pPr>
            <a:lvl5pPr>
              <a:defRPr sz="180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60572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9454896" cy="7315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4089958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|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-1" y="0"/>
            <a:ext cx="6092757" cy="62179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" charset="0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455613"/>
            <a:ext cx="5373757" cy="5428352"/>
          </a:xfrm>
        </p:spPr>
        <p:txBody>
          <a:bodyPr anchor="ctr"/>
          <a:lstStyle>
            <a:lvl1pPr algn="l">
              <a:lnSpc>
                <a:spcPct val="80000"/>
              </a:lnSpc>
              <a:defRPr sz="48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 dirty="0"/>
              <a:t>Statement with Imag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6085489" y="0"/>
            <a:ext cx="6103336" cy="621792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D95ED186-43FB-524C-BA1D-FE9206B5EE21}"/>
              </a:ext>
            </a:extLst>
          </p:cNvPr>
          <p:cNvSpPr txBox="1">
            <a:spLocks/>
          </p:cNvSpPr>
          <p:nvPr userDrawn="1"/>
        </p:nvSpPr>
        <p:spPr>
          <a:xfrm>
            <a:off x="11454523" y="6418626"/>
            <a:ext cx="734302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 dirty="0">
                <a:solidFill>
                  <a:schemeClr val="bg2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 dirty="0">
              <a:solidFill>
                <a:schemeClr val="bg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E644EB67-7A01-0445-BE7F-7139E2D0ADE7}"/>
              </a:ext>
            </a:extLst>
          </p:cNvPr>
          <p:cNvSpPr txBox="1">
            <a:spLocks/>
          </p:cNvSpPr>
          <p:nvPr userDrawn="1"/>
        </p:nvSpPr>
        <p:spPr>
          <a:xfrm>
            <a:off x="8921749" y="6418626"/>
            <a:ext cx="253277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 dirty="0">
                <a:solidFill>
                  <a:schemeClr val="bg2"/>
                </a:solidFill>
                <a:latin typeface="Arial" charset="0"/>
                <a:cs typeface="Arial" charset="0"/>
              </a:rPr>
              <a:t>Confidential Proprietary Information</a:t>
            </a:r>
            <a:endParaRPr lang="en-US" sz="800" b="0" i="0" dirty="0">
              <a:solidFill>
                <a:schemeClr val="bg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B138C220-F154-1547-B8B8-038AF7C8FDEE}"/>
              </a:ext>
            </a:extLst>
          </p:cNvPr>
          <p:cNvSpPr txBox="1">
            <a:spLocks/>
          </p:cNvSpPr>
          <p:nvPr userDrawn="1"/>
        </p:nvSpPr>
        <p:spPr>
          <a:xfrm>
            <a:off x="6026150" y="6418626"/>
            <a:ext cx="2895598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b="0" i="0" dirty="0">
                <a:solidFill>
                  <a:schemeClr val="tx1"/>
                </a:solidFill>
                <a:latin typeface="Arial" charset="0"/>
                <a:cs typeface="Arial" charset="0"/>
              </a:rPr>
              <a:t>Presentation Title</a:t>
            </a:r>
            <a:endParaRPr lang="en-US" sz="800" b="0" i="0" dirty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B0768B1-8C76-EF4E-AD7C-DD7331E615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3" t="-15502" r="-13612" b="-18252"/>
          <a:stretch/>
        </p:blipFill>
        <p:spPr>
          <a:xfrm>
            <a:off x="457200" y="6356196"/>
            <a:ext cx="1490546" cy="379142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4 Col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9125860" y="0"/>
            <a:ext cx="3062965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8407292" cy="731520"/>
          </a:xfrm>
        </p:spPr>
        <p:txBody>
          <a:bodyPr anchor="t"/>
          <a:lstStyle>
            <a:lvl1pPr>
              <a:defRPr sz="2800" b="1" i="0">
                <a:solidFill>
                  <a:schemeClr val="accent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198" y="1371600"/>
            <a:ext cx="8409340" cy="48387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08084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4 Col Right |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9125860" y="0"/>
            <a:ext cx="3062965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0" i="0" dirty="0">
              <a:solidFill>
                <a:schemeClr val="accent2"/>
              </a:solidFill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8407292" cy="731520"/>
          </a:xfrm>
        </p:spPr>
        <p:txBody>
          <a:bodyPr anchor="t"/>
          <a:lstStyle>
            <a:lvl1pPr>
              <a:defRPr sz="2800" b="1" i="0">
                <a:solidFill>
                  <a:schemeClr val="accent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200" y="1371600"/>
            <a:ext cx="8412480" cy="4838700"/>
          </a:xfrm>
        </p:spPr>
        <p:txBody>
          <a:bodyPr/>
          <a:lstStyle>
            <a:lvl1pPr>
              <a:spcBef>
                <a:spcPts val="1800"/>
              </a:spcBef>
              <a:defRPr sz="2000" b="1" i="0">
                <a:solidFill>
                  <a:schemeClr val="tx2"/>
                </a:solidFill>
                <a:latin typeface="+mn-lt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>
                <a:latin typeface="+mn-lt"/>
              </a:defRPr>
            </a:lvl2pPr>
            <a:lvl3pPr marL="200025" indent="-200025">
              <a:spcBef>
                <a:spcPts val="600"/>
              </a:spcBef>
              <a:buFont typeface="Arial"/>
              <a:buChar char="•"/>
              <a:defRPr sz="1800">
                <a:latin typeface="+mn-lt"/>
              </a:defRPr>
            </a:lvl3pPr>
            <a:lvl4pPr marL="398463" indent="-200025">
              <a:buFont typeface="Lucida Grande"/>
              <a:buChar char="-"/>
              <a:defRPr sz="1600">
                <a:latin typeface="+mn-lt"/>
              </a:defRPr>
            </a:lvl4pPr>
            <a:lvl5pPr>
              <a:defRPr sz="180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 Level 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47264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Revers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" y="0"/>
            <a:ext cx="12188824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" charset="0"/>
              <a:cs typeface="Arial" charset="0"/>
            </a:endParaRPr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30D243D2-BC3C-A440-8E6C-A5ED6CDC7D64}"/>
              </a:ext>
            </a:extLst>
          </p:cNvPr>
          <p:cNvSpPr txBox="1">
            <a:spLocks/>
          </p:cNvSpPr>
          <p:nvPr userDrawn="1"/>
        </p:nvSpPr>
        <p:spPr>
          <a:xfrm>
            <a:off x="11454523" y="6418626"/>
            <a:ext cx="734302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 dirty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92128D92-AA66-A049-A528-5B202C14A7D1}"/>
              </a:ext>
            </a:extLst>
          </p:cNvPr>
          <p:cNvSpPr txBox="1">
            <a:spLocks/>
          </p:cNvSpPr>
          <p:nvPr userDrawn="1"/>
        </p:nvSpPr>
        <p:spPr>
          <a:xfrm>
            <a:off x="8921749" y="6418626"/>
            <a:ext cx="253277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 dirty="0">
                <a:solidFill>
                  <a:schemeClr val="bg1"/>
                </a:solidFill>
                <a:latin typeface="Arial" charset="0"/>
                <a:cs typeface="Arial" charset="0"/>
              </a:rPr>
              <a:t>Confidential Proprietary Information</a:t>
            </a:r>
            <a:endParaRPr lang="en-US" sz="800" b="0" i="0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2B09D78D-265C-6040-B686-E6DCD4807E7C}"/>
              </a:ext>
            </a:extLst>
          </p:cNvPr>
          <p:cNvSpPr txBox="1">
            <a:spLocks/>
          </p:cNvSpPr>
          <p:nvPr userDrawn="1"/>
        </p:nvSpPr>
        <p:spPr>
          <a:xfrm>
            <a:off x="6026150" y="6418626"/>
            <a:ext cx="2895598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b="0" i="0" dirty="0">
                <a:solidFill>
                  <a:schemeClr val="tx1"/>
                </a:solidFill>
                <a:latin typeface="Arial" charset="0"/>
                <a:cs typeface="Arial" charset="0"/>
              </a:rPr>
              <a:t>Presentation Title</a:t>
            </a:r>
            <a:endParaRPr lang="en-US" sz="800" b="0" i="0" dirty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0A6CA77-4A88-D242-9E7A-7B4965431C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78" b="-5722"/>
          <a:stretch/>
        </p:blipFill>
        <p:spPr>
          <a:xfrm>
            <a:off x="273965" y="6215044"/>
            <a:ext cx="1676755" cy="693755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8AC0D03F-F761-764B-8C25-975C1CFF96A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455613" y="3987483"/>
            <a:ext cx="6794350" cy="1215588"/>
          </a:xfrm>
        </p:spPr>
        <p:txBody>
          <a:bodyPr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rgbClr val="FFFFFF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CDE42373-4557-BB4F-9297-F9E4DB7183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613" y="5345291"/>
            <a:ext cx="5193792" cy="335328"/>
          </a:xfr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rgbClr val="FFFFFF"/>
                </a:solidFill>
                <a:latin typeface="+mn-lt"/>
                <a:cs typeface="Arial" charset="0"/>
              </a:defRPr>
            </a:lvl1pPr>
            <a:lvl2pPr marL="456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5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</p:spTree>
    <p:extLst>
      <p:ext uri="{BB962C8B-B14F-4D97-AF65-F5344CB8AC3E}">
        <p14:creationId xmlns:p14="http://schemas.microsoft.com/office/powerpoint/2010/main" val="3424721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39922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" y="6260353"/>
            <a:ext cx="12188824" cy="59764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116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 preferRelativeResize="0"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88748" y="947521"/>
            <a:ext cx="2313806" cy="159343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54" t="25599" r="9369" b="25265"/>
          <a:stretch/>
        </p:blipFill>
        <p:spPr>
          <a:xfrm>
            <a:off x="720027" y="674177"/>
            <a:ext cx="2933353" cy="520139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>
            <a:off x="0" y="6444059"/>
            <a:ext cx="7925195" cy="4203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2" tIns="34281" rIns="68562" bIns="34281" rtlCol="0" anchor="ctr"/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7925194" y="6444059"/>
            <a:ext cx="1223798" cy="42032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2" tIns="34281" rIns="68562" bIns="34281" rtlCol="0" anchor="ctr"/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Rectangle 18"/>
          <p:cNvSpPr/>
          <p:nvPr userDrawn="1"/>
        </p:nvSpPr>
        <p:spPr>
          <a:xfrm>
            <a:off x="9148990" y="6444059"/>
            <a:ext cx="2469901" cy="42032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2" tIns="34281" rIns="68562" bIns="34281" rtlCol="0" anchor="ctr"/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ectangle 19"/>
          <p:cNvSpPr/>
          <p:nvPr userDrawn="1"/>
        </p:nvSpPr>
        <p:spPr>
          <a:xfrm>
            <a:off x="11618889" y="6444059"/>
            <a:ext cx="569937" cy="42032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2" tIns="34281" rIns="68562" bIns="34281" rtlCol="0" anchor="ctr"/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Title 1"/>
          <p:cNvSpPr>
            <a:spLocks noGrp="1"/>
          </p:cNvSpPr>
          <p:nvPr>
            <p:ph type="ctrTitle"/>
          </p:nvPr>
        </p:nvSpPr>
        <p:spPr>
          <a:xfrm>
            <a:off x="643855" y="3704884"/>
            <a:ext cx="10858692" cy="774216"/>
          </a:xfrm>
        </p:spPr>
        <p:txBody>
          <a:bodyPr lIns="0" rIns="0" anchor="b">
            <a:noAutofit/>
          </a:bodyPr>
          <a:lstStyle>
            <a:lvl1pPr algn="l">
              <a:lnSpc>
                <a:spcPct val="100000"/>
              </a:lnSpc>
              <a:defRPr sz="2999" spc="-2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43849" y="4577048"/>
            <a:ext cx="6313939" cy="325152"/>
          </a:xfr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buNone/>
              <a:defRPr sz="1799" b="1" i="0">
                <a:solidFill>
                  <a:schemeClr val="tx1"/>
                </a:solidFill>
              </a:defRPr>
            </a:lvl1pPr>
            <a:lvl2pPr marL="342797" indent="0" algn="ctr">
              <a:buNone/>
              <a:defRPr sz="1500"/>
            </a:lvl2pPr>
            <a:lvl3pPr marL="685594" indent="0" algn="ctr">
              <a:buNone/>
              <a:defRPr sz="1400"/>
            </a:lvl3pPr>
            <a:lvl4pPr marL="1028391" indent="0" algn="ctr">
              <a:buNone/>
              <a:defRPr sz="1200"/>
            </a:lvl4pPr>
            <a:lvl5pPr marL="1371189" indent="0" algn="ctr">
              <a:buNone/>
              <a:defRPr sz="1200"/>
            </a:lvl5pPr>
            <a:lvl6pPr marL="1713986" indent="0" algn="ctr">
              <a:buNone/>
              <a:defRPr sz="1200"/>
            </a:lvl6pPr>
            <a:lvl7pPr marL="2056783" indent="0" algn="ctr">
              <a:buNone/>
              <a:defRPr sz="1200"/>
            </a:lvl7pPr>
            <a:lvl8pPr marL="2399580" indent="0" algn="ctr">
              <a:buNone/>
              <a:defRPr sz="1200"/>
            </a:lvl8pPr>
            <a:lvl9pPr marL="2742377" indent="0" algn="ctr">
              <a:buNone/>
              <a:defRPr sz="1200"/>
            </a:lvl9pPr>
          </a:lstStyle>
          <a:p>
            <a:r>
              <a:rPr lang="en-US" dirty="0"/>
              <a:t>Presenter’s Name</a:t>
            </a:r>
          </a:p>
        </p:txBody>
      </p:sp>
      <p:sp>
        <p:nvSpPr>
          <p:cNvPr id="24" name="Content Placeholder 16"/>
          <p:cNvSpPr>
            <a:spLocks noGrp="1"/>
          </p:cNvSpPr>
          <p:nvPr>
            <p:ph sz="quarter" idx="10" hasCustomPrompt="1"/>
          </p:nvPr>
        </p:nvSpPr>
        <p:spPr>
          <a:xfrm>
            <a:off x="643849" y="4953003"/>
            <a:ext cx="6313939" cy="298451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00000"/>
              </a:lnSpc>
              <a:defRPr sz="1799"/>
            </a:lvl1pPr>
          </a:lstStyle>
          <a:p>
            <a:pPr lvl="0"/>
            <a:r>
              <a:rPr lang="en-US" dirty="0"/>
              <a:t>Department</a:t>
            </a:r>
          </a:p>
        </p:txBody>
      </p:sp>
      <p:sp>
        <p:nvSpPr>
          <p:cNvPr id="12" name="Content Placeholder 16"/>
          <p:cNvSpPr>
            <a:spLocks noGrp="1"/>
          </p:cNvSpPr>
          <p:nvPr>
            <p:ph sz="quarter" idx="11" hasCustomPrompt="1"/>
          </p:nvPr>
        </p:nvSpPr>
        <p:spPr>
          <a:xfrm>
            <a:off x="643848" y="5314947"/>
            <a:ext cx="6313939" cy="292107"/>
          </a:xfrm>
        </p:spPr>
        <p:txBody>
          <a:bodyPr lIns="0" tIns="0" rIns="0" bIns="0" anchor="ctr" anchorCtr="0">
            <a:noAutofit/>
          </a:bodyPr>
          <a:lstStyle>
            <a:lvl1pPr>
              <a:lnSpc>
                <a:spcPct val="100000"/>
              </a:lnSpc>
              <a:defRPr sz="1799"/>
            </a:lvl1pPr>
          </a:lstStyle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5982302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3915" y="2761675"/>
            <a:ext cx="11244978" cy="603863"/>
          </a:xfrm>
        </p:spPr>
        <p:txBody>
          <a:bodyPr anchor="t">
            <a:normAutofit/>
          </a:bodyPr>
          <a:lstStyle>
            <a:lvl1pPr>
              <a:defRPr sz="2999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9970" y="3385519"/>
            <a:ext cx="11248922" cy="373719"/>
          </a:xfrm>
        </p:spPr>
        <p:txBody>
          <a:bodyPr lIns="91440" tIns="0" rIns="91440" bIns="0" anchor="b" anchorCtr="0">
            <a:noAutofit/>
          </a:bodyPr>
          <a:lstStyle>
            <a:lvl1pPr>
              <a:defRPr sz="1799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59897" y="6527427"/>
            <a:ext cx="4113728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594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5"/>
            <a:ext cx="7925195" cy="4203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2" tIns="34281" rIns="68562" bIns="34281" rtlCol="0" anchor="ctr"/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7925194" y="5"/>
            <a:ext cx="1223798" cy="42032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2" tIns="34281" rIns="68562" bIns="34281" rtlCol="0" anchor="ctr"/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9148990" y="5"/>
            <a:ext cx="2469901" cy="42032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2" tIns="34281" rIns="68562" bIns="34281" rtlCol="0" anchor="ctr"/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11618889" y="5"/>
            <a:ext cx="569937" cy="42032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2" tIns="34281" rIns="68562" bIns="34281" rtlCol="0" anchor="ctr"/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11053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 dirty="0">
              <a:solidFill>
                <a:srgbClr val="75787B"/>
              </a:solidFill>
            </a:endParaRPr>
          </a:p>
        </p:txBody>
      </p:sp>
      <p:sp>
        <p:nvSpPr>
          <p:cNvPr id="8" name="Title 2"/>
          <p:cNvSpPr txBox="1">
            <a:spLocks/>
          </p:cNvSpPr>
          <p:nvPr userDrawn="1"/>
        </p:nvSpPr>
        <p:spPr>
          <a:xfrm>
            <a:off x="8463783" y="100698"/>
            <a:ext cx="3725043" cy="208269"/>
          </a:xfrm>
          <a:prstGeom prst="rect">
            <a:avLst/>
          </a:prstGeom>
        </p:spPr>
        <p:txBody>
          <a:bodyPr vert="horz" lIns="91416" tIns="0" rIns="91416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59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58789" y="204845"/>
            <a:ext cx="9256846" cy="657953"/>
          </a:xfrm>
        </p:spPr>
        <p:txBody>
          <a:bodyPr anchor="t">
            <a:noAutofit/>
          </a:bodyPr>
          <a:lstStyle/>
          <a:p>
            <a:r>
              <a:rPr lang="en-US" dirty="0"/>
              <a:t>Agenda Slid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59740" y="1869028"/>
            <a:ext cx="9255889" cy="4226983"/>
          </a:xfrm>
        </p:spPr>
        <p:txBody>
          <a:bodyPr>
            <a:normAutofit/>
          </a:bodyPr>
          <a:lstStyle>
            <a:lvl1pPr>
              <a:lnSpc>
                <a:spcPts val="4499"/>
              </a:lnSpc>
              <a:defRPr sz="2199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.</a:t>
            </a:r>
          </a:p>
          <a:p>
            <a:pPr lvl="0"/>
            <a:r>
              <a:rPr lang="en-US" dirty="0"/>
              <a:t>2.</a:t>
            </a:r>
          </a:p>
          <a:p>
            <a:pPr lvl="0"/>
            <a:r>
              <a:rPr lang="en-US" dirty="0"/>
              <a:t>3.</a:t>
            </a:r>
          </a:p>
          <a:p>
            <a:pPr lvl="0"/>
            <a:r>
              <a:rPr lang="en-US" dirty="0"/>
              <a:t>4.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041" y="857366"/>
            <a:ext cx="9262590" cy="311037"/>
          </a:xfrm>
        </p:spPr>
        <p:txBody>
          <a:bodyPr lIns="91440" tIns="0" rIns="91440" bIns="0" anchor="b" anchorCtr="0">
            <a:noAutofit/>
          </a:bodyPr>
          <a:lstStyle>
            <a:lvl1pPr>
              <a:defRPr sz="1799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59897" y="6527427"/>
            <a:ext cx="4113728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594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86204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45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88825" cy="6324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783" y="3048815"/>
            <a:ext cx="11471260" cy="760372"/>
          </a:xfrm>
        </p:spPr>
        <p:txBody>
          <a:bodyPr anchor="ctr"/>
          <a:lstStyle>
            <a:lvl1pPr>
              <a:defRPr sz="27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59897" y="6527427"/>
            <a:ext cx="4113728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594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234601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" y="973194"/>
            <a:ext cx="850678" cy="342617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2" tIns="34281" rIns="68562" bIns="342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043679" y="998118"/>
            <a:ext cx="7860277" cy="3401253"/>
          </a:xfrm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spcAft>
                <a:spcPts val="0"/>
              </a:spcAft>
              <a:defRPr sz="2799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se as a Divider slide, or place a quote or fact here. Use on it’s own or to introduce a new section of the presentation. (Georgia 28 </a:t>
            </a:r>
            <a:r>
              <a:rPr lang="en-US" dirty="0" err="1"/>
              <a:t>pt</a:t>
            </a:r>
            <a:r>
              <a:rPr lang="en-US" dirty="0"/>
              <a:t> Bold)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" y="973194"/>
            <a:ext cx="850678" cy="342617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2" tIns="34281" rIns="68562" bIns="342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itle 2"/>
          <p:cNvSpPr txBox="1">
            <a:spLocks/>
          </p:cNvSpPr>
          <p:nvPr userDrawn="1"/>
        </p:nvSpPr>
        <p:spPr>
          <a:xfrm>
            <a:off x="8463783" y="100698"/>
            <a:ext cx="3725043" cy="208269"/>
          </a:xfrm>
          <a:prstGeom prst="rect">
            <a:avLst/>
          </a:prstGeom>
        </p:spPr>
        <p:txBody>
          <a:bodyPr vert="horz" lIns="91416" tIns="0" rIns="91416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59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3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59897" y="6527427"/>
            <a:ext cx="4113728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594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401823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" y="973194"/>
            <a:ext cx="850678" cy="34261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2" tIns="34281" rIns="68562" bIns="342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043679" y="998118"/>
            <a:ext cx="7860277" cy="3401253"/>
          </a:xfrm>
        </p:spPr>
        <p:txBody>
          <a:bodyPr anchor="t">
            <a:noAutofit/>
          </a:bodyPr>
          <a:lstStyle>
            <a:lvl1pPr algn="l">
              <a:defRPr sz="2799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se as a Divider slide, or place a quote or fact here. Use on it’s own or to introduce a new section of the presentation. (Georgia 28 </a:t>
            </a:r>
            <a:r>
              <a:rPr lang="en-US" dirty="0" err="1"/>
              <a:t>pt</a:t>
            </a:r>
            <a:r>
              <a:rPr lang="en-US" dirty="0"/>
              <a:t> Bold)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" y="973194"/>
            <a:ext cx="850678" cy="34261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2" tIns="34281" rIns="68562" bIns="342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itle 2"/>
          <p:cNvSpPr txBox="1">
            <a:spLocks/>
          </p:cNvSpPr>
          <p:nvPr userDrawn="1"/>
        </p:nvSpPr>
        <p:spPr>
          <a:xfrm>
            <a:off x="8463783" y="100698"/>
            <a:ext cx="3725043" cy="208269"/>
          </a:xfrm>
          <a:prstGeom prst="rect">
            <a:avLst/>
          </a:prstGeom>
        </p:spPr>
        <p:txBody>
          <a:bodyPr vert="horz" lIns="91416" tIns="0" rIns="91416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59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59897" y="6527427"/>
            <a:ext cx="4113728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594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147821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" y="973194"/>
            <a:ext cx="850678" cy="342617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2" tIns="34281" rIns="68562" bIns="342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43679" y="998118"/>
            <a:ext cx="7860277" cy="3401253"/>
          </a:xfrm>
        </p:spPr>
        <p:txBody>
          <a:bodyPr anchor="t">
            <a:noAutofit/>
          </a:bodyPr>
          <a:lstStyle>
            <a:lvl1pPr algn="l">
              <a:defRPr sz="2799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se as a Divider slide, or place a quote or fact here. Use on it’s own or to introduce a new section of the presentation. (Georgia 28 </a:t>
            </a:r>
            <a:r>
              <a:rPr lang="en-US" dirty="0" err="1"/>
              <a:t>pt</a:t>
            </a:r>
            <a:r>
              <a:rPr lang="en-US" dirty="0"/>
              <a:t> Bold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" y="973194"/>
            <a:ext cx="850678" cy="34261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2" tIns="34281" rIns="68562" bIns="342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itle 2"/>
          <p:cNvSpPr txBox="1">
            <a:spLocks/>
          </p:cNvSpPr>
          <p:nvPr userDrawn="1"/>
        </p:nvSpPr>
        <p:spPr>
          <a:xfrm>
            <a:off x="8463783" y="100698"/>
            <a:ext cx="3725043" cy="208269"/>
          </a:xfrm>
          <a:prstGeom prst="rect">
            <a:avLst/>
          </a:prstGeom>
        </p:spPr>
        <p:txBody>
          <a:bodyPr vert="horz" lIns="91416" tIns="0" rIns="91416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59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59897" y="6527427"/>
            <a:ext cx="4113728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594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273224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325" y="1696288"/>
            <a:ext cx="11473718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199"/>
            </a:lvl1pPr>
            <a:lvl2pPr>
              <a:lnSpc>
                <a:spcPct val="140000"/>
              </a:lnSpc>
              <a:defRPr sz="2199"/>
            </a:lvl2pPr>
            <a:lvl3pPr>
              <a:lnSpc>
                <a:spcPct val="140000"/>
              </a:lnSpc>
              <a:defRPr sz="2199"/>
            </a:lvl3pPr>
            <a:lvl4pPr>
              <a:lnSpc>
                <a:spcPct val="140000"/>
              </a:lnSpc>
              <a:defRPr sz="2199"/>
            </a:lvl4pPr>
            <a:lvl5pPr>
              <a:lnSpc>
                <a:spcPct val="140000"/>
              </a:lnSpc>
              <a:defRPr sz="2199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200"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 dirty="0">
              <a:solidFill>
                <a:srgbClr val="75787B"/>
              </a:solidFill>
            </a:endParaRPr>
          </a:p>
        </p:txBody>
      </p:sp>
      <p:sp>
        <p:nvSpPr>
          <p:cNvPr id="8" name="Title 2"/>
          <p:cNvSpPr txBox="1">
            <a:spLocks/>
          </p:cNvSpPr>
          <p:nvPr userDrawn="1"/>
        </p:nvSpPr>
        <p:spPr>
          <a:xfrm>
            <a:off x="8463783" y="100698"/>
            <a:ext cx="3725043" cy="208269"/>
          </a:xfrm>
          <a:prstGeom prst="rect">
            <a:avLst/>
          </a:prstGeom>
        </p:spPr>
        <p:txBody>
          <a:bodyPr vert="horz" lIns="91416" tIns="0" rIns="91416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59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786" y="204845"/>
            <a:ext cx="11471259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0" y="0"/>
            <a:ext cx="203147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62" tIns="34281" rIns="68562" bIns="342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040" y="857366"/>
            <a:ext cx="11477002" cy="311037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799" dirty="0">
                <a:solidFill>
                  <a:schemeClr val="accent3"/>
                </a:solidFill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Subtitle text style</a:t>
            </a:r>
          </a:p>
        </p:txBody>
      </p:sp>
      <p:sp>
        <p:nvSpPr>
          <p:cNvPr id="14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59897" y="6527427"/>
            <a:ext cx="4113728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594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70585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10363200" cy="62179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" charset="0"/>
              <a:cs typeface="Arial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55613" y="3987483"/>
            <a:ext cx="6794350" cy="1215588"/>
          </a:xfrm>
        </p:spPr>
        <p:txBody>
          <a:bodyPr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rgbClr val="FFFFFF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612" y="5345291"/>
            <a:ext cx="6795193" cy="335328"/>
          </a:xfr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rgbClr val="FFFFFF"/>
                </a:solidFill>
                <a:latin typeface="+mn-lt"/>
                <a:cs typeface="Arial" charset="0"/>
              </a:defRPr>
            </a:lvl1pPr>
            <a:lvl2pPr marL="456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5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10359310" y="0"/>
            <a:ext cx="455612" cy="62179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" charset="0"/>
              <a:cs typeface="Arial" charset="0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10815764" y="0"/>
            <a:ext cx="1373061" cy="62179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6286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325" y="1696288"/>
            <a:ext cx="11473718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199"/>
            </a:lvl1pPr>
            <a:lvl2pPr>
              <a:lnSpc>
                <a:spcPct val="140000"/>
              </a:lnSpc>
              <a:defRPr sz="2199"/>
            </a:lvl2pPr>
            <a:lvl3pPr>
              <a:lnSpc>
                <a:spcPct val="140000"/>
              </a:lnSpc>
              <a:defRPr sz="2199"/>
            </a:lvl3pPr>
            <a:lvl4pPr>
              <a:lnSpc>
                <a:spcPct val="140000"/>
              </a:lnSpc>
              <a:defRPr sz="2199"/>
            </a:lvl4pPr>
            <a:lvl5pPr>
              <a:lnSpc>
                <a:spcPct val="140000"/>
              </a:lnSpc>
              <a:defRPr sz="2199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 dirty="0">
              <a:solidFill>
                <a:srgbClr val="75787B"/>
              </a:solidFill>
            </a:endParaRPr>
          </a:p>
        </p:txBody>
      </p:sp>
      <p:sp>
        <p:nvSpPr>
          <p:cNvPr id="8" name="Title 2"/>
          <p:cNvSpPr txBox="1">
            <a:spLocks/>
          </p:cNvSpPr>
          <p:nvPr userDrawn="1"/>
        </p:nvSpPr>
        <p:spPr>
          <a:xfrm>
            <a:off x="8463783" y="100698"/>
            <a:ext cx="3725043" cy="208269"/>
          </a:xfrm>
          <a:prstGeom prst="rect">
            <a:avLst/>
          </a:prstGeom>
        </p:spPr>
        <p:txBody>
          <a:bodyPr vert="horz" lIns="91416" tIns="0" rIns="91416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59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786" y="204845"/>
            <a:ext cx="11471259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040" y="857366"/>
            <a:ext cx="11477002" cy="311037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799" dirty="0">
                <a:solidFill>
                  <a:schemeClr val="accent3"/>
                </a:solidFill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Subtitle text style</a:t>
            </a:r>
          </a:p>
        </p:txBody>
      </p:sp>
      <p:sp>
        <p:nvSpPr>
          <p:cNvPr id="14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59897" y="6527427"/>
            <a:ext cx="4113728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594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511534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91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1" imgH="472" progId="TCLayout.ActiveDocument.1">
                  <p:embed/>
                </p:oleObj>
              </mc:Choice>
              <mc:Fallback>
                <p:oleObj name="think-cell Slide" r:id="rId3" imgW="471" imgH="472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 dirty="0">
              <a:solidFill>
                <a:srgbClr val="75787B"/>
              </a:solidFill>
            </a:endParaRPr>
          </a:p>
        </p:txBody>
      </p:sp>
      <p:sp>
        <p:nvSpPr>
          <p:cNvPr id="8" name="Title 2"/>
          <p:cNvSpPr txBox="1">
            <a:spLocks/>
          </p:cNvSpPr>
          <p:nvPr userDrawn="1"/>
        </p:nvSpPr>
        <p:spPr>
          <a:xfrm>
            <a:off x="8463783" y="100698"/>
            <a:ext cx="3725043" cy="208269"/>
          </a:xfrm>
          <a:prstGeom prst="rect">
            <a:avLst/>
          </a:prstGeom>
        </p:spPr>
        <p:txBody>
          <a:bodyPr vert="horz" lIns="91416" tIns="0" rIns="91416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59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786" y="204845"/>
            <a:ext cx="11471259" cy="657953"/>
          </a:xfrm>
        </p:spPr>
        <p:txBody>
          <a:bodyPr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040" y="664026"/>
            <a:ext cx="11478377" cy="311037"/>
          </a:xfr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US" sz="1799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59897" y="6527427"/>
            <a:ext cx="4113728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594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052352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Lines - 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 dirty="0">
              <a:solidFill>
                <a:srgbClr val="75787B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58783" y="206479"/>
            <a:ext cx="11471260" cy="101272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8" name="Title 2"/>
          <p:cNvSpPr txBox="1">
            <a:spLocks/>
          </p:cNvSpPr>
          <p:nvPr userDrawn="1"/>
        </p:nvSpPr>
        <p:spPr>
          <a:xfrm>
            <a:off x="8463783" y="100698"/>
            <a:ext cx="3725043" cy="208269"/>
          </a:xfrm>
          <a:prstGeom prst="rect">
            <a:avLst/>
          </a:prstGeom>
        </p:spPr>
        <p:txBody>
          <a:bodyPr vert="horz" lIns="91416" tIns="0" rIns="91416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59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56325" y="1977243"/>
            <a:ext cx="11475094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199"/>
            </a:lvl1pPr>
            <a:lvl2pPr>
              <a:lnSpc>
                <a:spcPct val="140000"/>
              </a:lnSpc>
              <a:defRPr sz="2199"/>
            </a:lvl2pPr>
            <a:lvl3pPr>
              <a:lnSpc>
                <a:spcPct val="140000"/>
              </a:lnSpc>
              <a:defRPr sz="2199"/>
            </a:lvl3pPr>
            <a:lvl4pPr>
              <a:lnSpc>
                <a:spcPct val="140000"/>
              </a:lnSpc>
              <a:defRPr sz="2199"/>
            </a:lvl4pPr>
            <a:lvl5pPr>
              <a:lnSpc>
                <a:spcPct val="140000"/>
              </a:lnSpc>
              <a:defRPr sz="2199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040" y="1219202"/>
            <a:ext cx="11478378" cy="311037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799" dirty="0">
                <a:solidFill>
                  <a:schemeClr val="accent3"/>
                </a:solidFill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Subtitle text style</a:t>
            </a:r>
          </a:p>
        </p:txBody>
      </p:sp>
      <p:sp>
        <p:nvSpPr>
          <p:cNvPr id="14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59897" y="6527427"/>
            <a:ext cx="4113728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594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236142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lines, 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 dirty="0">
              <a:solidFill>
                <a:srgbClr val="75787B"/>
              </a:solidFill>
            </a:endParaRPr>
          </a:p>
        </p:txBody>
      </p:sp>
      <p:sp>
        <p:nvSpPr>
          <p:cNvPr id="8" name="Title 2"/>
          <p:cNvSpPr txBox="1">
            <a:spLocks/>
          </p:cNvSpPr>
          <p:nvPr userDrawn="1"/>
        </p:nvSpPr>
        <p:spPr>
          <a:xfrm>
            <a:off x="8463783" y="100698"/>
            <a:ext cx="3725043" cy="208269"/>
          </a:xfrm>
          <a:prstGeom prst="rect">
            <a:avLst/>
          </a:prstGeom>
        </p:spPr>
        <p:txBody>
          <a:bodyPr vert="horz" lIns="91416" tIns="0" rIns="91416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59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58783" y="206479"/>
            <a:ext cx="11471260" cy="1012723"/>
          </a:xfrm>
        </p:spPr>
        <p:txBody>
          <a:bodyPr anchor="t">
            <a:noAutofit/>
          </a:bodyPr>
          <a:lstStyle/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040" y="1219202"/>
            <a:ext cx="11478378" cy="311037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799" dirty="0">
                <a:solidFill>
                  <a:schemeClr val="accent3"/>
                </a:solidFill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Subtitle text style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59897" y="6527427"/>
            <a:ext cx="4113728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594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495495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Naviga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789" y="204845"/>
            <a:ext cx="9256846" cy="657953"/>
          </a:xfrm>
        </p:spPr>
        <p:txBody>
          <a:bodyPr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 dirty="0">
              <a:solidFill>
                <a:srgbClr val="75787B"/>
              </a:solidFill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71029" y="1032011"/>
            <a:ext cx="1825428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="1" baseline="0"/>
            </a:lvl1pPr>
          </a:lstStyle>
          <a:p>
            <a:pPr lvl="0"/>
            <a:r>
              <a:rPr lang="en-US" dirty="0"/>
              <a:t>Item 1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2578254" y="1032011"/>
            <a:ext cx="1829700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="1" baseline="0"/>
            </a:lvl1pPr>
          </a:lstStyle>
          <a:p>
            <a:pPr lvl="0"/>
            <a:r>
              <a:rPr lang="en-US" dirty="0"/>
              <a:t>Item 2</a:t>
            </a:r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7022183" y="1032011"/>
            <a:ext cx="1808761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="1" baseline="0"/>
            </a:lvl1pPr>
          </a:lstStyle>
          <a:p>
            <a:pPr lvl="0"/>
            <a:r>
              <a:rPr lang="en-US" dirty="0"/>
              <a:t>Item 4</a:t>
            </a:r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9212746" y="1032011"/>
            <a:ext cx="1829700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="1" baseline="0"/>
            </a:lvl1pPr>
          </a:lstStyle>
          <a:p>
            <a:pPr lvl="0"/>
            <a:r>
              <a:rPr lang="en-US" dirty="0"/>
              <a:t>Item 5</a:t>
            </a:r>
          </a:p>
        </p:txBody>
      </p:sp>
      <p:sp>
        <p:nvSpPr>
          <p:cNvPr id="16" name="Title 2"/>
          <p:cNvSpPr txBox="1">
            <a:spLocks/>
          </p:cNvSpPr>
          <p:nvPr userDrawn="1"/>
        </p:nvSpPr>
        <p:spPr>
          <a:xfrm>
            <a:off x="8463783" y="100698"/>
            <a:ext cx="3725043" cy="208269"/>
          </a:xfrm>
          <a:prstGeom prst="rect">
            <a:avLst/>
          </a:prstGeom>
        </p:spPr>
        <p:txBody>
          <a:bodyPr vert="horz" lIns="91416" tIns="0" rIns="91416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59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366757" y="1434937"/>
            <a:ext cx="1829700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Rectangle 18"/>
          <p:cNvSpPr/>
          <p:nvPr userDrawn="1"/>
        </p:nvSpPr>
        <p:spPr>
          <a:xfrm>
            <a:off x="2578254" y="1434937"/>
            <a:ext cx="1829700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ectangle 19"/>
          <p:cNvSpPr/>
          <p:nvPr userDrawn="1"/>
        </p:nvSpPr>
        <p:spPr>
          <a:xfrm>
            <a:off x="4789757" y="1433889"/>
            <a:ext cx="1829700" cy="609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Rectangle 20"/>
          <p:cNvSpPr/>
          <p:nvPr userDrawn="1"/>
        </p:nvSpPr>
        <p:spPr>
          <a:xfrm>
            <a:off x="7001244" y="1434937"/>
            <a:ext cx="1829700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9212746" y="1434937"/>
            <a:ext cx="1829700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0" hasCustomPrompt="1"/>
          </p:nvPr>
        </p:nvSpPr>
        <p:spPr>
          <a:xfrm>
            <a:off x="4789757" y="1032011"/>
            <a:ext cx="1829700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="1" baseline="0"/>
            </a:lvl1pPr>
          </a:lstStyle>
          <a:p>
            <a:pPr lvl="0"/>
            <a:r>
              <a:rPr lang="en-US" dirty="0"/>
              <a:t>Item 3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"/>
          </p:nvPr>
        </p:nvSpPr>
        <p:spPr>
          <a:xfrm>
            <a:off x="356326" y="1696288"/>
            <a:ext cx="1143931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199"/>
            </a:lvl1pPr>
            <a:lvl2pPr>
              <a:lnSpc>
                <a:spcPct val="140000"/>
              </a:lnSpc>
              <a:defRPr sz="2199"/>
            </a:lvl2pPr>
            <a:lvl3pPr>
              <a:lnSpc>
                <a:spcPct val="140000"/>
              </a:lnSpc>
              <a:defRPr sz="2199"/>
            </a:lvl3pPr>
            <a:lvl4pPr>
              <a:lnSpc>
                <a:spcPct val="140000"/>
              </a:lnSpc>
              <a:defRPr sz="2199"/>
            </a:lvl4pPr>
            <a:lvl5pPr>
              <a:lnSpc>
                <a:spcPct val="140000"/>
              </a:lnSpc>
              <a:defRPr sz="2199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59897" y="6527427"/>
            <a:ext cx="4113728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594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445342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Naviga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 userDrawn="1"/>
        </p:nvSpPr>
        <p:spPr>
          <a:xfrm>
            <a:off x="4290939" y="1020719"/>
            <a:ext cx="1858977" cy="414180"/>
          </a:xfrm>
          <a:prstGeom prst="rect">
            <a:avLst/>
          </a:prstGeom>
          <a:solidFill>
            <a:schemeClr val="accent1"/>
          </a:solidFill>
          <a:ln w="25400" cap="rnd" cmpd="sng">
            <a:solidFill>
              <a:schemeClr val="accent1"/>
            </a:solidFill>
            <a:prstDash val="sysDot"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5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789" y="204845"/>
            <a:ext cx="9256846" cy="657953"/>
          </a:xfrm>
        </p:spPr>
        <p:txBody>
          <a:bodyPr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 dirty="0">
              <a:solidFill>
                <a:srgbClr val="75787B"/>
              </a:solidFill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59741" y="1032011"/>
            <a:ext cx="1855562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aseline="0"/>
            </a:lvl1pPr>
          </a:lstStyle>
          <a:p>
            <a:pPr lvl="0"/>
            <a:r>
              <a:rPr lang="en-US" dirty="0"/>
              <a:t>Item 1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2323631" y="1032011"/>
            <a:ext cx="1858977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aseline="0"/>
            </a:lvl1pPr>
          </a:lstStyle>
          <a:p>
            <a:pPr lvl="0"/>
            <a:r>
              <a:rPr lang="en-US" dirty="0"/>
              <a:t>Item 2</a:t>
            </a:r>
          </a:p>
        </p:txBody>
      </p:sp>
      <p:sp>
        <p:nvSpPr>
          <p:cNvPr id="24" name="Text Placehold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4283836" y="1032011"/>
            <a:ext cx="1858977" cy="402891"/>
          </a:xfrm>
        </p:spPr>
        <p:txBody>
          <a:bodyPr tIns="36576" bIns="0"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aseline="0"/>
            </a:lvl1pPr>
          </a:lstStyle>
          <a:p>
            <a:pPr lvl="0"/>
            <a:r>
              <a:rPr lang="en-US" dirty="0"/>
              <a:t>Item 3</a:t>
            </a:r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6258246" y="1032011"/>
            <a:ext cx="1858977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aseline="0"/>
            </a:lvl1pPr>
          </a:lstStyle>
          <a:p>
            <a:pPr lvl="0"/>
            <a:r>
              <a:rPr lang="en-US" dirty="0"/>
              <a:t>Item 4</a:t>
            </a:r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8225553" y="1032011"/>
            <a:ext cx="1858977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aseline="0"/>
            </a:lvl1pPr>
          </a:lstStyle>
          <a:p>
            <a:pPr lvl="0"/>
            <a:r>
              <a:rPr lang="en-US" dirty="0"/>
              <a:t>Item 5</a:t>
            </a:r>
          </a:p>
        </p:txBody>
      </p:sp>
      <p:sp>
        <p:nvSpPr>
          <p:cNvPr id="16" name="Title 2"/>
          <p:cNvSpPr txBox="1">
            <a:spLocks/>
          </p:cNvSpPr>
          <p:nvPr userDrawn="1"/>
        </p:nvSpPr>
        <p:spPr>
          <a:xfrm>
            <a:off x="8463783" y="100698"/>
            <a:ext cx="3725043" cy="208269"/>
          </a:xfrm>
          <a:prstGeom prst="rect">
            <a:avLst/>
          </a:prstGeom>
        </p:spPr>
        <p:txBody>
          <a:bodyPr vert="horz" lIns="91416" tIns="0" rIns="91416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59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56326" y="1696288"/>
            <a:ext cx="1143931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199"/>
            </a:lvl1pPr>
            <a:lvl2pPr>
              <a:lnSpc>
                <a:spcPct val="140000"/>
              </a:lnSpc>
              <a:defRPr sz="2199"/>
            </a:lvl2pPr>
            <a:lvl3pPr>
              <a:lnSpc>
                <a:spcPct val="140000"/>
              </a:lnSpc>
              <a:defRPr sz="2199"/>
            </a:lvl3pPr>
            <a:lvl4pPr>
              <a:lnSpc>
                <a:spcPct val="140000"/>
              </a:lnSpc>
              <a:defRPr sz="2199"/>
            </a:lvl4pPr>
            <a:lvl5pPr>
              <a:lnSpc>
                <a:spcPct val="140000"/>
              </a:lnSpc>
              <a:defRPr sz="2199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59897" y="6527427"/>
            <a:ext cx="4113728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594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709607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8781" y="1452247"/>
            <a:ext cx="5180251" cy="4351339"/>
          </a:xfrm>
        </p:spPr>
        <p:txBody>
          <a:bodyPr>
            <a:normAutofit/>
          </a:bodyPr>
          <a:lstStyle>
            <a:lvl1pPr>
              <a:defRPr sz="1999"/>
            </a:lvl1pPr>
            <a:lvl2pPr>
              <a:defRPr sz="1999"/>
            </a:lvl2pPr>
            <a:lvl3pPr>
              <a:defRPr sz="1999"/>
            </a:lvl3pPr>
            <a:lvl4pPr>
              <a:defRPr sz="1999"/>
            </a:lvl4pPr>
            <a:lvl5pPr>
              <a:defRPr sz="1999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91392" y="1452247"/>
            <a:ext cx="5180251" cy="4351339"/>
          </a:xfrm>
        </p:spPr>
        <p:txBody>
          <a:bodyPr>
            <a:normAutofit/>
          </a:bodyPr>
          <a:lstStyle>
            <a:lvl1pPr>
              <a:defRPr sz="1999"/>
            </a:lvl1pPr>
            <a:lvl2pPr>
              <a:defRPr sz="1999"/>
            </a:lvl2pPr>
            <a:lvl3pPr>
              <a:defRPr sz="1999"/>
            </a:lvl3pPr>
            <a:lvl4pPr>
              <a:defRPr sz="1999"/>
            </a:lvl4pPr>
            <a:lvl5pPr>
              <a:defRPr sz="199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Title 2"/>
          <p:cNvSpPr txBox="1">
            <a:spLocks/>
          </p:cNvSpPr>
          <p:nvPr userDrawn="1"/>
        </p:nvSpPr>
        <p:spPr>
          <a:xfrm>
            <a:off x="8463783" y="100698"/>
            <a:ext cx="3725043" cy="208269"/>
          </a:xfrm>
          <a:prstGeom prst="rect">
            <a:avLst/>
          </a:prstGeom>
        </p:spPr>
        <p:txBody>
          <a:bodyPr vert="horz" lIns="91416" tIns="0" rIns="91416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59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789" y="204845"/>
            <a:ext cx="9256846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59897" y="6527427"/>
            <a:ext cx="4113728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594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293512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8785" y="1845871"/>
            <a:ext cx="3373133" cy="643331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999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 dirty="0">
              <a:solidFill>
                <a:srgbClr val="75787B"/>
              </a:solidFill>
            </a:endParaRPr>
          </a:p>
        </p:txBody>
      </p:sp>
      <p:sp>
        <p:nvSpPr>
          <p:cNvPr id="17" name="Content Placeholder 2"/>
          <p:cNvSpPr>
            <a:spLocks noGrp="1"/>
          </p:cNvSpPr>
          <p:nvPr>
            <p:ph idx="16"/>
          </p:nvPr>
        </p:nvSpPr>
        <p:spPr>
          <a:xfrm>
            <a:off x="4192427" y="1845871"/>
            <a:ext cx="3373133" cy="643331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999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8"/>
          </p:nvPr>
        </p:nvSpPr>
        <p:spPr>
          <a:xfrm>
            <a:off x="8005566" y="1845871"/>
            <a:ext cx="3373133" cy="643331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999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58789" y="204845"/>
            <a:ext cx="9256846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362585" y="2659262"/>
            <a:ext cx="3373886" cy="3272367"/>
          </a:xfrm>
        </p:spPr>
        <p:txBody>
          <a:bodyPr>
            <a:noAutofit/>
          </a:bodyPr>
          <a:lstStyle>
            <a:lvl1pPr>
              <a:lnSpc>
                <a:spcPts val="2199"/>
              </a:lnSpc>
              <a:defRPr sz="1799"/>
            </a:lvl1pPr>
            <a:lvl2pPr>
              <a:lnSpc>
                <a:spcPts val="2199"/>
              </a:lnSpc>
              <a:defRPr sz="1799"/>
            </a:lvl2pPr>
            <a:lvl3pPr>
              <a:lnSpc>
                <a:spcPts val="2199"/>
              </a:lnSpc>
              <a:defRPr sz="1799"/>
            </a:lvl3pPr>
            <a:lvl4pPr>
              <a:lnSpc>
                <a:spcPts val="2199"/>
              </a:lnSpc>
              <a:defRPr sz="1799"/>
            </a:lvl4pPr>
            <a:lvl5pPr>
              <a:lnSpc>
                <a:spcPts val="2199"/>
              </a:lnSpc>
              <a:defRPr sz="1799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4193219" y="2659262"/>
            <a:ext cx="3373886" cy="3272367"/>
          </a:xfrm>
        </p:spPr>
        <p:txBody>
          <a:bodyPr>
            <a:noAutofit/>
          </a:bodyPr>
          <a:lstStyle>
            <a:lvl1pPr>
              <a:lnSpc>
                <a:spcPts val="2199"/>
              </a:lnSpc>
              <a:defRPr sz="1799"/>
            </a:lvl1pPr>
            <a:lvl2pPr>
              <a:lnSpc>
                <a:spcPts val="2199"/>
              </a:lnSpc>
              <a:defRPr sz="1799"/>
            </a:lvl2pPr>
            <a:lvl3pPr>
              <a:lnSpc>
                <a:spcPts val="2199"/>
              </a:lnSpc>
              <a:defRPr sz="1799"/>
            </a:lvl3pPr>
            <a:lvl4pPr>
              <a:lnSpc>
                <a:spcPts val="2199"/>
              </a:lnSpc>
              <a:defRPr sz="1799"/>
            </a:lvl4pPr>
            <a:lvl5pPr>
              <a:lnSpc>
                <a:spcPts val="2199"/>
              </a:lnSpc>
              <a:defRPr sz="1799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8004799" y="2659262"/>
            <a:ext cx="3373886" cy="3272367"/>
          </a:xfrm>
        </p:spPr>
        <p:txBody>
          <a:bodyPr>
            <a:noAutofit/>
          </a:bodyPr>
          <a:lstStyle>
            <a:lvl1pPr>
              <a:lnSpc>
                <a:spcPts val="2199"/>
              </a:lnSpc>
              <a:defRPr sz="1799"/>
            </a:lvl1pPr>
            <a:lvl2pPr>
              <a:lnSpc>
                <a:spcPts val="2199"/>
              </a:lnSpc>
              <a:defRPr sz="1799"/>
            </a:lvl2pPr>
            <a:lvl3pPr>
              <a:lnSpc>
                <a:spcPts val="2199"/>
              </a:lnSpc>
              <a:defRPr sz="1799"/>
            </a:lvl3pPr>
            <a:lvl4pPr>
              <a:lnSpc>
                <a:spcPts val="2199"/>
              </a:lnSpc>
              <a:defRPr sz="1799"/>
            </a:lvl4pPr>
            <a:lvl5pPr>
              <a:lnSpc>
                <a:spcPts val="2199"/>
              </a:lnSpc>
              <a:defRPr sz="1799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353041" y="857366"/>
            <a:ext cx="9262590" cy="311037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1799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2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59897" y="6527427"/>
            <a:ext cx="4113728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594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977364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789" y="204845"/>
            <a:ext cx="9256846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 dirty="0">
              <a:solidFill>
                <a:srgbClr val="75787B"/>
              </a:solidFill>
            </a:endParaRPr>
          </a:p>
        </p:txBody>
      </p:sp>
      <p:sp>
        <p:nvSpPr>
          <p:cNvPr id="15" name="Title 2"/>
          <p:cNvSpPr txBox="1">
            <a:spLocks/>
          </p:cNvSpPr>
          <p:nvPr userDrawn="1"/>
        </p:nvSpPr>
        <p:spPr>
          <a:xfrm>
            <a:off x="8463783" y="100698"/>
            <a:ext cx="3725043" cy="208269"/>
          </a:xfrm>
          <a:prstGeom prst="rect">
            <a:avLst/>
          </a:prstGeom>
        </p:spPr>
        <p:txBody>
          <a:bodyPr vert="horz" lIns="91416" tIns="0" rIns="91416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59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041" y="857366"/>
            <a:ext cx="9262590" cy="311037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1799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8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59897" y="6527427"/>
            <a:ext cx="4113728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594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356326" y="1920550"/>
            <a:ext cx="3589146" cy="575215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1999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5"/>
          </p:nvPr>
        </p:nvSpPr>
        <p:spPr>
          <a:xfrm>
            <a:off x="356326" y="3181472"/>
            <a:ext cx="3589146" cy="575215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1999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6"/>
          </p:nvPr>
        </p:nvSpPr>
        <p:spPr>
          <a:xfrm>
            <a:off x="356326" y="4466748"/>
            <a:ext cx="3589146" cy="575215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1999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4089076" y="1857050"/>
            <a:ext cx="7253579" cy="862965"/>
          </a:xfrm>
        </p:spPr>
        <p:txBody>
          <a:bodyPr tIns="0" bIns="0" anchor="t" anchorCtr="0">
            <a:normAutofit/>
          </a:bodyPr>
          <a:lstStyle>
            <a:lvl1pPr>
              <a:defRPr sz="1799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sz="half" idx="18"/>
          </p:nvPr>
        </p:nvSpPr>
        <p:spPr>
          <a:xfrm>
            <a:off x="4089076" y="3125663"/>
            <a:ext cx="7253579" cy="879612"/>
          </a:xfrm>
        </p:spPr>
        <p:txBody>
          <a:bodyPr tIns="0" bIns="0" anchor="t" anchorCtr="0">
            <a:normAutofit/>
          </a:bodyPr>
          <a:lstStyle>
            <a:lvl1pPr>
              <a:defRPr sz="1799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sz="half" idx="19"/>
          </p:nvPr>
        </p:nvSpPr>
        <p:spPr>
          <a:xfrm>
            <a:off x="4089076" y="4403211"/>
            <a:ext cx="7253579" cy="1045091"/>
          </a:xfrm>
        </p:spPr>
        <p:txBody>
          <a:bodyPr tIns="0" bIns="0" anchor="t" anchorCtr="0">
            <a:normAutofit/>
          </a:bodyPr>
          <a:lstStyle>
            <a:lvl1pPr>
              <a:defRPr sz="1799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2665396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Rows /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 dirty="0">
              <a:solidFill>
                <a:srgbClr val="75787B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95381" y="4122422"/>
            <a:ext cx="2755101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500" b="1"/>
            </a:lvl1pPr>
            <a:lvl2pPr marL="4762" indent="0" algn="ctr">
              <a:lnSpc>
                <a:spcPct val="100000"/>
              </a:lnSpc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5"/>
          </p:nvPr>
        </p:nvSpPr>
        <p:spPr>
          <a:xfrm>
            <a:off x="3240278" y="4122422"/>
            <a:ext cx="2755101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500" b="1"/>
            </a:lvl1pPr>
            <a:lvl2pPr marL="4762" indent="0" algn="ctr">
              <a:lnSpc>
                <a:spcPct val="100000"/>
              </a:lnSpc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6"/>
          </p:nvPr>
        </p:nvSpPr>
        <p:spPr>
          <a:xfrm>
            <a:off x="6185174" y="4122422"/>
            <a:ext cx="2755101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500" b="1"/>
            </a:lvl1pPr>
            <a:lvl2pPr marL="4762" indent="0" algn="ctr">
              <a:lnSpc>
                <a:spcPct val="100000"/>
              </a:lnSpc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7"/>
          </p:nvPr>
        </p:nvSpPr>
        <p:spPr>
          <a:xfrm>
            <a:off x="9130067" y="4122422"/>
            <a:ext cx="2755101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500" b="1"/>
            </a:lvl1pPr>
            <a:lvl2pPr marL="4762" indent="0" algn="ctr">
              <a:lnSpc>
                <a:spcPct val="100000"/>
              </a:lnSpc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2"/>
          <p:cNvSpPr txBox="1">
            <a:spLocks/>
          </p:cNvSpPr>
          <p:nvPr userDrawn="1"/>
        </p:nvSpPr>
        <p:spPr>
          <a:xfrm>
            <a:off x="8463783" y="100698"/>
            <a:ext cx="3725043" cy="208269"/>
          </a:xfrm>
          <a:prstGeom prst="rect">
            <a:avLst/>
          </a:prstGeom>
        </p:spPr>
        <p:txBody>
          <a:bodyPr vert="horz" lIns="91416" tIns="0" rIns="91416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59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58789" y="206479"/>
            <a:ext cx="9256846" cy="1012723"/>
          </a:xfrm>
        </p:spPr>
        <p:txBody>
          <a:bodyPr anchor="t">
            <a:noAutofit/>
          </a:bodyPr>
          <a:lstStyle/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041" y="1219202"/>
            <a:ext cx="9262590" cy="311037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1799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59897" y="6527427"/>
            <a:ext cx="4113728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594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74982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r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55613" y="3987483"/>
            <a:ext cx="6794350" cy="1215588"/>
          </a:xfrm>
        </p:spPr>
        <p:txBody>
          <a:bodyPr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chemeClr val="accent1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612" y="5345291"/>
            <a:ext cx="6795193" cy="335328"/>
          </a:xfr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chemeClr val="accent1"/>
                </a:solidFill>
                <a:latin typeface="+mn-lt"/>
                <a:cs typeface="Arial" charset="0"/>
              </a:defRPr>
            </a:lvl1pPr>
            <a:lvl2pPr marL="456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5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59897" y="6527427"/>
            <a:ext cx="4113728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594"/>
            <a:r>
              <a:rPr lang="en-US">
                <a:solidFill>
                  <a:srgbClr val="0061A0"/>
                </a:solidFill>
              </a:rPr>
              <a:t>Group Benefits Regional Market Value Proposition</a:t>
            </a:r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386344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1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53E704-F213-432D-BB6E-F1DED02B8CA0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79286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0357338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55613" y="1935162"/>
            <a:ext cx="8275637" cy="2987675"/>
          </a:xfrm>
        </p:spPr>
        <p:txBody>
          <a:bodyPr anchor="ctr"/>
          <a:lstStyle>
            <a:lvl1pPr>
              <a:defRPr sz="60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pPr lvl="0"/>
            <a:r>
              <a:rPr lang="en-US" dirty="0"/>
              <a:t>Divide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F8D7CB4-AC62-9F48-A705-796142F13742}"/>
              </a:ext>
            </a:extLst>
          </p:cNvPr>
          <p:cNvSpPr/>
          <p:nvPr userDrawn="1"/>
        </p:nvSpPr>
        <p:spPr>
          <a:xfrm>
            <a:off x="10357338" y="0"/>
            <a:ext cx="455612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" charset="0"/>
              <a:cs typeface="Arial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499CCF-DB5D-1147-8D19-56CAAB4805CA}"/>
              </a:ext>
            </a:extLst>
          </p:cNvPr>
          <p:cNvSpPr/>
          <p:nvPr userDrawn="1"/>
        </p:nvSpPr>
        <p:spPr>
          <a:xfrm>
            <a:off x="10815764" y="0"/>
            <a:ext cx="137306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" charset="0"/>
              <a:cs typeface="Arial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0369F17-56A0-BB4D-AC17-65EDADA7B8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78" b="-5722"/>
          <a:stretch/>
        </p:blipFill>
        <p:spPr>
          <a:xfrm>
            <a:off x="273965" y="6215044"/>
            <a:ext cx="1676755" cy="69375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Col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103632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" charset="0"/>
              <a:cs typeface="Arial" charset="0"/>
            </a:endParaRPr>
          </a:p>
        </p:txBody>
      </p:sp>
      <p:sp>
        <p:nvSpPr>
          <p:cNvPr id="14" name="Text Placehold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55613" y="1935162"/>
            <a:ext cx="8275637" cy="2987675"/>
          </a:xfrm>
        </p:spPr>
        <p:txBody>
          <a:bodyPr anchor="ctr"/>
          <a:lstStyle>
            <a:lvl1pPr>
              <a:defRPr sz="60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pPr lvl="0"/>
            <a:r>
              <a:rPr lang="en-US" dirty="0"/>
              <a:t>Divide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491139-12A7-9F41-8CE7-769D7C7A2BF2}"/>
              </a:ext>
            </a:extLst>
          </p:cNvPr>
          <p:cNvSpPr/>
          <p:nvPr userDrawn="1"/>
        </p:nvSpPr>
        <p:spPr>
          <a:xfrm>
            <a:off x="10359310" y="0"/>
            <a:ext cx="455612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" charset="0"/>
              <a:cs typeface="Arial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0C7A479-FD3A-2145-B820-2CC43370800E}"/>
              </a:ext>
            </a:extLst>
          </p:cNvPr>
          <p:cNvSpPr/>
          <p:nvPr userDrawn="1"/>
        </p:nvSpPr>
        <p:spPr>
          <a:xfrm>
            <a:off x="10815764" y="0"/>
            <a:ext cx="1373061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" charset="0"/>
              <a:cs typeface="Arial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D8243B6-6B24-414C-B87D-99E50D922F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78" b="-5722"/>
          <a:stretch/>
        </p:blipFill>
        <p:spPr>
          <a:xfrm>
            <a:off x="273965" y="6215044"/>
            <a:ext cx="1676755" cy="693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7695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" y="0"/>
            <a:ext cx="1218882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" charset="0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455613"/>
            <a:ext cx="11274552" cy="5943600"/>
          </a:xfrm>
        </p:spPr>
        <p:txBody>
          <a:bodyPr anchor="ctr"/>
          <a:lstStyle>
            <a:lvl1pPr algn="l">
              <a:lnSpc>
                <a:spcPct val="80000"/>
              </a:lnSpc>
              <a:defRPr sz="48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 dirty="0"/>
              <a:t>Statement</a:t>
            </a:r>
          </a:p>
        </p:txBody>
      </p:sp>
      <p:sp>
        <p:nvSpPr>
          <p:cNvPr id="6" name="Content Placeholder 8">
            <a:extLst>
              <a:ext uri="{FF2B5EF4-FFF2-40B4-BE49-F238E27FC236}">
                <a16:creationId xmlns:a16="http://schemas.microsoft.com/office/drawing/2014/main" id="{B3BE98BB-9677-8E43-BD1A-7B7F4818F9BE}"/>
              </a:ext>
            </a:extLst>
          </p:cNvPr>
          <p:cNvSpPr txBox="1">
            <a:spLocks/>
          </p:cNvSpPr>
          <p:nvPr userDrawn="1"/>
        </p:nvSpPr>
        <p:spPr>
          <a:xfrm>
            <a:off x="11454523" y="6418626"/>
            <a:ext cx="734302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 dirty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Content Placeholder 8">
            <a:extLst>
              <a:ext uri="{FF2B5EF4-FFF2-40B4-BE49-F238E27FC236}">
                <a16:creationId xmlns:a16="http://schemas.microsoft.com/office/drawing/2014/main" id="{D0D8946D-F449-5F4C-804E-200176634BDF}"/>
              </a:ext>
            </a:extLst>
          </p:cNvPr>
          <p:cNvSpPr txBox="1">
            <a:spLocks/>
          </p:cNvSpPr>
          <p:nvPr userDrawn="1"/>
        </p:nvSpPr>
        <p:spPr>
          <a:xfrm>
            <a:off x="8921749" y="6418626"/>
            <a:ext cx="253277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 dirty="0">
                <a:solidFill>
                  <a:schemeClr val="bg1"/>
                </a:solidFill>
                <a:latin typeface="Arial" charset="0"/>
                <a:cs typeface="Arial" charset="0"/>
              </a:rPr>
              <a:t>Confidential Proprietary Information</a:t>
            </a:r>
            <a:endParaRPr lang="en-US" sz="800" b="0" i="0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27EE6175-3C10-4349-90EA-276AA47F3390}"/>
              </a:ext>
            </a:extLst>
          </p:cNvPr>
          <p:cNvSpPr txBox="1">
            <a:spLocks/>
          </p:cNvSpPr>
          <p:nvPr userDrawn="1"/>
        </p:nvSpPr>
        <p:spPr>
          <a:xfrm>
            <a:off x="6026150" y="6418626"/>
            <a:ext cx="2895598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b="0" i="0" dirty="0">
                <a:solidFill>
                  <a:schemeClr val="tx1"/>
                </a:solidFill>
                <a:latin typeface="Arial" charset="0"/>
                <a:cs typeface="Arial" charset="0"/>
              </a:rPr>
              <a:t>Presentation Title</a:t>
            </a:r>
            <a:endParaRPr lang="en-US" sz="800" b="0" i="0" dirty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936FBB9-070C-164B-B11C-3D098B0AA7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78" b="-5722"/>
          <a:stretch/>
        </p:blipFill>
        <p:spPr>
          <a:xfrm>
            <a:off x="273965" y="6215044"/>
            <a:ext cx="1676755" cy="69375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9454896" cy="73161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200" y="1371600"/>
            <a:ext cx="9450388" cy="4838700"/>
          </a:xfrm>
        </p:spPr>
        <p:txBody>
          <a:bodyPr/>
          <a:lstStyle>
            <a:lvl1pPr>
              <a:defRPr sz="2000">
                <a:solidFill>
                  <a:schemeClr val="bg2"/>
                </a:solidFill>
              </a:defRPr>
            </a:lvl1pPr>
            <a:lvl2pPr>
              <a:defRPr sz="1800">
                <a:solidFill>
                  <a:schemeClr val="bg2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76279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Header |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9454896" cy="7315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200" y="1371600"/>
            <a:ext cx="9442450" cy="4838700"/>
          </a:xfrm>
        </p:spPr>
        <p:txBody>
          <a:bodyPr/>
          <a:lstStyle>
            <a:lvl1pPr>
              <a:spcBef>
                <a:spcPts val="1800"/>
              </a:spcBef>
              <a:defRPr sz="2000" b="1" i="0">
                <a:solidFill>
                  <a:schemeClr val="tx2"/>
                </a:solidFill>
                <a:latin typeface="+mn-lt"/>
                <a:ea typeface="Arial" charset="0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/>
            </a:lvl2pPr>
            <a:lvl3pPr marL="200025" indent="-200025">
              <a:spcBef>
                <a:spcPts val="600"/>
              </a:spcBef>
              <a:buFont typeface="Arial"/>
              <a:buChar char="•"/>
              <a:defRPr sz="1800"/>
            </a:lvl3pPr>
            <a:lvl4pPr marL="398463" indent="-200025">
              <a:buFont typeface="Lucida Grande"/>
              <a:buChar char="-"/>
              <a:defRPr sz="1600"/>
            </a:lvl4pPr>
            <a:lvl5pPr>
              <a:defRPr sz="180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 Level 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88681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4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5" Type="http://schemas.openxmlformats.org/officeDocument/2006/relationships/image" Target="../media/image4.jpeg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slideLayout" Target="../slideLayouts/slideLayout41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24" Type="http://schemas.openxmlformats.org/officeDocument/2006/relationships/image" Target="../media/image3.emf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6013" cy="457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 To Edit Master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71600"/>
            <a:ext cx="11276013" cy="48322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8"/>
          <p:cNvSpPr txBox="1">
            <a:spLocks/>
          </p:cNvSpPr>
          <p:nvPr userDrawn="1"/>
        </p:nvSpPr>
        <p:spPr>
          <a:xfrm>
            <a:off x="11454523" y="6418626"/>
            <a:ext cx="734302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 dirty="0">
                <a:solidFill>
                  <a:schemeClr val="bg2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 dirty="0">
              <a:solidFill>
                <a:schemeClr val="bg2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3" t="-15502" r="-13612" b="-18252"/>
          <a:stretch/>
        </p:blipFill>
        <p:spPr>
          <a:xfrm>
            <a:off x="457200" y="6356196"/>
            <a:ext cx="1490546" cy="379142"/>
          </a:xfrm>
          <a:prstGeom prst="rect">
            <a:avLst/>
          </a:prstGeom>
        </p:spPr>
      </p:pic>
      <p:sp>
        <p:nvSpPr>
          <p:cNvPr id="6" name="Content Placeholder 8">
            <a:extLst>
              <a:ext uri="{FF2B5EF4-FFF2-40B4-BE49-F238E27FC236}">
                <a16:creationId xmlns:a16="http://schemas.microsoft.com/office/drawing/2014/main" id="{E321F721-4826-4E4E-A2A8-70906FC8472E}"/>
              </a:ext>
            </a:extLst>
          </p:cNvPr>
          <p:cNvSpPr txBox="1">
            <a:spLocks/>
          </p:cNvSpPr>
          <p:nvPr userDrawn="1"/>
        </p:nvSpPr>
        <p:spPr>
          <a:xfrm>
            <a:off x="8921749" y="6418626"/>
            <a:ext cx="253277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 dirty="0">
                <a:solidFill>
                  <a:schemeClr val="bg2"/>
                </a:solidFill>
                <a:latin typeface="Arial" charset="0"/>
                <a:cs typeface="Arial" charset="0"/>
              </a:rPr>
              <a:t>Confidential Proprietary Information</a:t>
            </a:r>
            <a:endParaRPr lang="en-US" sz="800" b="0" i="0" dirty="0">
              <a:solidFill>
                <a:schemeClr val="bg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Content Placeholder 8">
            <a:extLst>
              <a:ext uri="{FF2B5EF4-FFF2-40B4-BE49-F238E27FC236}">
                <a16:creationId xmlns:a16="http://schemas.microsoft.com/office/drawing/2014/main" id="{7BBFEA55-E6CB-FA4D-A342-CAA145C6F31A}"/>
              </a:ext>
            </a:extLst>
          </p:cNvPr>
          <p:cNvSpPr txBox="1">
            <a:spLocks/>
          </p:cNvSpPr>
          <p:nvPr userDrawn="1"/>
        </p:nvSpPr>
        <p:spPr>
          <a:xfrm>
            <a:off x="6026150" y="6418626"/>
            <a:ext cx="2895598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b="0" i="0" dirty="0">
                <a:solidFill>
                  <a:schemeClr val="tx1"/>
                </a:solidFill>
                <a:latin typeface="Arial" charset="0"/>
                <a:cs typeface="Arial" charset="0"/>
              </a:rPr>
              <a:t>Presentation Title</a:t>
            </a:r>
            <a:endParaRPr lang="en-US" sz="800" b="0" i="0" dirty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3315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740" r:id="rId2"/>
    <p:sldLayoutId id="2147483716" r:id="rId3"/>
    <p:sldLayoutId id="2147483736" r:id="rId4"/>
    <p:sldLayoutId id="2147483735" r:id="rId5"/>
    <p:sldLayoutId id="2147483661" r:id="rId6"/>
    <p:sldLayoutId id="2147483734" r:id="rId7"/>
    <p:sldLayoutId id="2147483705" r:id="rId8"/>
    <p:sldLayoutId id="2147483707" r:id="rId9"/>
    <p:sldLayoutId id="2147483722" r:id="rId10"/>
    <p:sldLayoutId id="2147483694" r:id="rId11"/>
    <p:sldLayoutId id="2147483737" r:id="rId12"/>
    <p:sldLayoutId id="2147483739" r:id="rId13"/>
    <p:sldLayoutId id="2147483695" r:id="rId14"/>
    <p:sldLayoutId id="2147483696" r:id="rId15"/>
    <p:sldLayoutId id="2147483698" r:id="rId16"/>
    <p:sldLayoutId id="2147483738" r:id="rId17"/>
    <p:sldLayoutId id="2147483701" r:id="rId18"/>
    <p:sldLayoutId id="2147483729" r:id="rId19"/>
    <p:sldLayoutId id="2147483655" r:id="rId20"/>
    <p:sldLayoutId id="2147483703" r:id="rId2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i="0" kern="1200">
          <a:solidFill>
            <a:schemeClr val="accent1"/>
          </a:solidFill>
          <a:latin typeface="Georgia" panose="02040502050405020303" pitchFamily="18" charset="0"/>
          <a:ea typeface="Georgia" panose="02040502050405020303" pitchFamily="18" charset="0"/>
          <a:cs typeface="Georgia" panose="02040502050405020303" pitchFamily="18" charset="0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Tx/>
        <a:buFontTx/>
        <a:buNone/>
        <a:tabLst>
          <a:tab pos="1201738" algn="l"/>
        </a:tabLst>
        <a:defRPr sz="20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1pPr>
      <a:lvl2pPr marL="200025" indent="-200025" algn="l" defTabSz="914400" rtl="0" eaLnBrk="1" latinLnBrk="0" hangingPunct="1">
        <a:spcBef>
          <a:spcPts val="6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2pPr>
      <a:lvl3pPr marL="398463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6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3pPr>
      <a:lvl4pPr marL="622300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6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4pPr>
      <a:lvl5pPr marL="806450" indent="-182563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6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3" orient="horz" pos="3912" userDrawn="1">
          <p15:clr>
            <a:srgbClr val="F26B43"/>
          </p15:clr>
        </p15:guide>
        <p15:guide id="4" pos="7391" userDrawn="1">
          <p15:clr>
            <a:srgbClr val="F26B43"/>
          </p15:clr>
        </p15:guide>
        <p15:guide id="5" pos="287" userDrawn="1">
          <p15:clr>
            <a:srgbClr val="F26B43"/>
          </p15:clr>
        </p15:guide>
        <p15:guide id="6" orient="horz" pos="288" userDrawn="1">
          <p15:clr>
            <a:srgbClr val="F26B43"/>
          </p15:clr>
        </p15:guide>
        <p15:guide id="7" pos="791" userDrawn="1">
          <p15:clr>
            <a:srgbClr val="F26B43"/>
          </p15:clr>
        </p15:guide>
        <p15:guide id="8" pos="887" userDrawn="1">
          <p15:clr>
            <a:srgbClr val="F26B43"/>
          </p15:clr>
        </p15:guide>
        <p15:guide id="9" pos="1391" userDrawn="1">
          <p15:clr>
            <a:srgbClr val="F26B43"/>
          </p15:clr>
        </p15:guide>
        <p15:guide id="10" pos="1487" userDrawn="1">
          <p15:clr>
            <a:srgbClr val="F26B43"/>
          </p15:clr>
        </p15:guide>
        <p15:guide id="11" pos="1991" userDrawn="1">
          <p15:clr>
            <a:srgbClr val="F26B43"/>
          </p15:clr>
        </p15:guide>
        <p15:guide id="12" pos="2087" userDrawn="1">
          <p15:clr>
            <a:srgbClr val="F26B43"/>
          </p15:clr>
        </p15:guide>
        <p15:guide id="13" pos="2591" userDrawn="1">
          <p15:clr>
            <a:srgbClr val="F26B43"/>
          </p15:clr>
        </p15:guide>
        <p15:guide id="14" pos="2687" userDrawn="1">
          <p15:clr>
            <a:srgbClr val="F26B43"/>
          </p15:clr>
        </p15:guide>
        <p15:guide id="15" pos="3191" userDrawn="1">
          <p15:clr>
            <a:srgbClr val="F26B43"/>
          </p15:clr>
        </p15:guide>
        <p15:guide id="16" pos="3263" userDrawn="1">
          <p15:clr>
            <a:srgbClr val="F26B43"/>
          </p15:clr>
        </p15:guide>
        <p15:guide id="17" pos="3791" userDrawn="1">
          <p15:clr>
            <a:srgbClr val="F26B43"/>
          </p15:clr>
        </p15:guide>
        <p15:guide id="18" pos="3863" userDrawn="1">
          <p15:clr>
            <a:srgbClr val="F26B43"/>
          </p15:clr>
        </p15:guide>
        <p15:guide id="19" pos="4391" userDrawn="1">
          <p15:clr>
            <a:srgbClr val="F26B43"/>
          </p15:clr>
        </p15:guide>
        <p15:guide id="20" pos="4487" userDrawn="1">
          <p15:clr>
            <a:srgbClr val="F26B43"/>
          </p15:clr>
        </p15:guide>
        <p15:guide id="21" pos="4991" userDrawn="1">
          <p15:clr>
            <a:srgbClr val="F26B43"/>
          </p15:clr>
        </p15:guide>
        <p15:guide id="22" pos="5087" userDrawn="1">
          <p15:clr>
            <a:srgbClr val="F26B43"/>
          </p15:clr>
        </p15:guide>
        <p15:guide id="23" pos="5591" userDrawn="1">
          <p15:clr>
            <a:srgbClr val="F26B43"/>
          </p15:clr>
        </p15:guide>
        <p15:guide id="24" pos="5663" userDrawn="1">
          <p15:clr>
            <a:srgbClr val="F26B43"/>
          </p15:clr>
        </p15:guide>
        <p15:guide id="25" pos="6191" userDrawn="1">
          <p15:clr>
            <a:srgbClr val="F26B43"/>
          </p15:clr>
        </p15:guide>
        <p15:guide id="26" pos="6263" userDrawn="1">
          <p15:clr>
            <a:srgbClr val="F26B43"/>
          </p15:clr>
        </p15:guide>
        <p15:guide id="27" pos="6791" userDrawn="1">
          <p15:clr>
            <a:srgbClr val="F26B43"/>
          </p15:clr>
        </p15:guide>
        <p15:guide id="28" pos="6863" userDrawn="1">
          <p15:clr>
            <a:srgbClr val="F26B43"/>
          </p15:clr>
        </p15:guide>
        <p15:guide id="29" orient="horz" pos="86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2"/>
            </p:custDataLst>
          </p:nvPr>
        </p:nvGraphicFramePr>
        <p:xfrm>
          <a:off x="2119" y="1591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71" imgH="472" progId="TCLayout.ActiveDocument.1">
                  <p:embed/>
                </p:oleObj>
              </mc:Choice>
              <mc:Fallback>
                <p:oleObj name="think-cell Slide" r:id="rId23" imgW="471" imgH="47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783" y="204831"/>
            <a:ext cx="11471260" cy="76037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6333" y="1854339"/>
            <a:ext cx="11473716" cy="42810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 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 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39502" y="6415346"/>
            <a:ext cx="904332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594"/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685594"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54" t="25599" r="9369" b="25265"/>
          <a:stretch/>
        </p:blipFill>
        <p:spPr>
          <a:xfrm>
            <a:off x="353796" y="6459799"/>
            <a:ext cx="1313705" cy="232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34839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  <p:sldLayoutId id="2147483749" r:id="rId8"/>
    <p:sldLayoutId id="2147483750" r:id="rId9"/>
    <p:sldLayoutId id="2147483751" r:id="rId10"/>
    <p:sldLayoutId id="2147483752" r:id="rId11"/>
    <p:sldLayoutId id="2147483753" r:id="rId12"/>
    <p:sldLayoutId id="2147483754" r:id="rId13"/>
    <p:sldLayoutId id="2147483755" r:id="rId14"/>
    <p:sldLayoutId id="2147483756" r:id="rId15"/>
    <p:sldLayoutId id="2147483757" r:id="rId16"/>
    <p:sldLayoutId id="2147483758" r:id="rId17"/>
    <p:sldLayoutId id="2147483759" r:id="rId18"/>
    <p:sldLayoutId id="2147483760" r:id="rId19"/>
    <p:sldLayoutId id="2147483761" r:id="rId20"/>
  </p:sldLayoutIdLst>
  <p:hf hdr="0" ftr="0" dt="0"/>
  <p:txStyles>
    <p:titleStyle>
      <a:lvl1pPr algn="l" defTabSz="685594" rtl="0" eaLnBrk="1" latinLnBrk="0" hangingPunct="1">
        <a:lnSpc>
          <a:spcPct val="90000"/>
        </a:lnSpc>
        <a:spcBef>
          <a:spcPct val="0"/>
        </a:spcBef>
        <a:buNone/>
        <a:defRPr sz="2799" b="1" i="0" kern="1200" spc="-20" baseline="0">
          <a:solidFill>
            <a:schemeClr val="tx1"/>
          </a:solidFill>
          <a:latin typeface="Georgia" charset="0"/>
          <a:ea typeface="Georgia" charset="0"/>
          <a:cs typeface="Georgia" charset="0"/>
        </a:defRPr>
      </a:lvl1pPr>
    </p:titleStyle>
    <p:bodyStyle>
      <a:lvl1pPr marL="0" indent="0" algn="l" defTabSz="685594" rtl="0" eaLnBrk="1" latinLnBrk="0" hangingPunct="1">
        <a:lnSpc>
          <a:spcPct val="140000"/>
        </a:lnSpc>
        <a:spcBef>
          <a:spcPts val="750"/>
        </a:spcBef>
        <a:buFont typeface="Arial"/>
        <a:buNone/>
        <a:defRPr sz="2199" kern="1200">
          <a:solidFill>
            <a:schemeClr val="tx1"/>
          </a:solidFill>
          <a:latin typeface="+mn-lt"/>
          <a:ea typeface="+mn-ea"/>
          <a:cs typeface="+mn-cs"/>
        </a:defRPr>
      </a:lvl1pPr>
      <a:lvl2pPr marL="130930" indent="-126168" algn="l" defTabSz="685594" rtl="0" eaLnBrk="1" latinLnBrk="0" hangingPunct="1">
        <a:lnSpc>
          <a:spcPct val="140000"/>
        </a:lnSpc>
        <a:spcBef>
          <a:spcPts val="375"/>
        </a:spcBef>
        <a:buFont typeface="Arial"/>
        <a:buChar char="•"/>
        <a:tabLst/>
        <a:defRPr sz="2199" kern="1200">
          <a:solidFill>
            <a:schemeClr val="tx1"/>
          </a:solidFill>
          <a:latin typeface="+mn-lt"/>
          <a:ea typeface="+mn-ea"/>
          <a:cs typeface="+mn-cs"/>
        </a:defRPr>
      </a:lvl2pPr>
      <a:lvl3pPr marL="302328" indent="-171399" algn="l" defTabSz="685594" rtl="0" eaLnBrk="1" latinLnBrk="0" hangingPunct="1">
        <a:lnSpc>
          <a:spcPct val="140000"/>
        </a:lnSpc>
        <a:spcBef>
          <a:spcPts val="375"/>
        </a:spcBef>
        <a:buFont typeface=".AppleSystemUIFont" charset="-120"/>
        <a:buChar char="−"/>
        <a:tabLst/>
        <a:defRPr sz="2199" kern="1200">
          <a:solidFill>
            <a:schemeClr val="tx1"/>
          </a:solidFill>
          <a:latin typeface="+mn-lt"/>
          <a:ea typeface="+mn-ea"/>
          <a:cs typeface="+mn-cs"/>
        </a:defRPr>
      </a:lvl3pPr>
      <a:lvl4pPr marL="428496" indent="-132120" algn="l" defTabSz="685594" rtl="0" eaLnBrk="1" latinLnBrk="0" hangingPunct="1">
        <a:lnSpc>
          <a:spcPct val="140000"/>
        </a:lnSpc>
        <a:spcBef>
          <a:spcPts val="375"/>
        </a:spcBef>
        <a:buFont typeface="Arial"/>
        <a:buChar char="•"/>
        <a:tabLst/>
        <a:defRPr sz="2199" kern="1200">
          <a:solidFill>
            <a:schemeClr val="tx1"/>
          </a:solidFill>
          <a:latin typeface="+mn-lt"/>
          <a:ea typeface="+mn-ea"/>
          <a:cs typeface="+mn-cs"/>
        </a:defRPr>
      </a:lvl4pPr>
      <a:lvl5pPr marL="560617" indent="-170209" algn="l" defTabSz="685594" rtl="0" eaLnBrk="1" latinLnBrk="0" hangingPunct="1">
        <a:lnSpc>
          <a:spcPct val="140000"/>
        </a:lnSpc>
        <a:spcBef>
          <a:spcPts val="375"/>
        </a:spcBef>
        <a:buFont typeface=".AppleSystemUIFont" charset="-120"/>
        <a:buChar char="−"/>
        <a:tabLst/>
        <a:defRPr sz="2199" kern="1200">
          <a:solidFill>
            <a:schemeClr val="tx1"/>
          </a:solidFill>
          <a:latin typeface="+mn-lt"/>
          <a:ea typeface="+mn-ea"/>
          <a:cs typeface="+mn-cs"/>
        </a:defRPr>
      </a:lvl5pPr>
      <a:lvl6pPr marL="1885384" indent="-171399" algn="l" defTabSz="685594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181" indent="-171399" algn="l" defTabSz="685594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0978" indent="-171399" algn="l" defTabSz="685594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3776" indent="-171399" algn="l" defTabSz="685594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5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797" algn="l" defTabSz="6855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594" algn="l" defTabSz="6855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391" algn="l" defTabSz="6855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189" algn="l" defTabSz="6855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3986" algn="l" defTabSz="6855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783" algn="l" defTabSz="6855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580" algn="l" defTabSz="6855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377" algn="l" defTabSz="6855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7">
          <p15:clr>
            <a:srgbClr val="F26B43"/>
          </p15:clr>
        </p15:guide>
        <p15:guide id="2" pos="288">
          <p15:clr>
            <a:srgbClr val="F26B43"/>
          </p15:clr>
        </p15:guide>
        <p15:guide id="3" orient="horz" pos="1361">
          <p15:clr>
            <a:srgbClr val="F26B43"/>
          </p15:clr>
        </p15:guide>
        <p15:guide id="4" orient="horz" pos="4176">
          <p15:clr>
            <a:srgbClr val="F26B43"/>
          </p15:clr>
        </p15:guide>
        <p15:guide id="5" orient="horz" pos="110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image" Target="../media/image7.png"/><Relationship Id="rId7" Type="http://schemas.openxmlformats.org/officeDocument/2006/relationships/image" Target="../media/image11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image" Target="../media/image7.png"/><Relationship Id="rId7" Type="http://schemas.openxmlformats.org/officeDocument/2006/relationships/chart" Target="../charts/chart3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0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10" Type="http://schemas.openxmlformats.org/officeDocument/2006/relationships/image" Target="../media/image15.emf"/><Relationship Id="rId4" Type="http://schemas.openxmlformats.org/officeDocument/2006/relationships/image" Target="../media/image8.png"/><Relationship Id="rId9" Type="http://schemas.openxmlformats.org/officeDocument/2006/relationships/image" Target="../media/image14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image" Target="../media/image7.png"/><Relationship Id="rId7" Type="http://schemas.openxmlformats.org/officeDocument/2006/relationships/chart" Target="../charts/chart5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16.emf"/><Relationship Id="rId5" Type="http://schemas.openxmlformats.org/officeDocument/2006/relationships/chart" Target="../charts/chart4.xml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9" name="Picture 7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7578" y="56813"/>
            <a:ext cx="1059698" cy="10015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5843" name="Picture 15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1143" y="16960"/>
            <a:ext cx="2090193" cy="7919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135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</p:pic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371549" y="193135"/>
            <a:ext cx="8009968" cy="569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14126">
              <a:lnSpc>
                <a:spcPts val="2399"/>
              </a:lnSpc>
              <a:defRPr/>
            </a:pPr>
            <a:r>
              <a:rPr lang="en-US" sz="2799" b="1" dirty="0">
                <a:solidFill>
                  <a:srgbClr val="000000"/>
                </a:solidFill>
                <a:latin typeface="Georgia"/>
                <a:ea typeface="ＭＳ Ｐゴシック" pitchFamily="34" charset="-128"/>
              </a:rPr>
              <a:t>Women in Finance Charter - 2023</a:t>
            </a:r>
            <a:endParaRPr lang="en-US" sz="2799" b="1" kern="0" dirty="0">
              <a:solidFill>
                <a:srgbClr val="000000"/>
              </a:solidFill>
              <a:latin typeface="Georgia"/>
              <a:ea typeface="ＭＳ Ｐゴシック" charset="-128"/>
            </a:endParaRPr>
          </a:p>
        </p:txBody>
      </p:sp>
      <p:sp>
        <p:nvSpPr>
          <p:cNvPr id="2" name="TextBox 1"/>
          <p:cNvSpPr txBox="1"/>
          <p:nvPr/>
        </p:nvSpPr>
        <p:spPr>
          <a:xfrm rot="16200000">
            <a:off x="-646120" y="1552855"/>
            <a:ext cx="2359750" cy="369236"/>
          </a:xfrm>
          <a:prstGeom prst="rect">
            <a:avLst/>
          </a:prstGeom>
          <a:noFill/>
          <a:scene3d>
            <a:camera prst="orthographicFront">
              <a:rot lat="0" lon="0" rev="0"/>
            </a:camera>
            <a:lightRig rig="threePt" dir="t"/>
          </a:scene3d>
        </p:spPr>
        <p:txBody>
          <a:bodyPr wrap="square">
            <a:spAutoFit/>
          </a:bodyPr>
          <a:lstStyle/>
          <a:p>
            <a:pPr algn="ctr" defTabSz="914126">
              <a:defRPr/>
            </a:pPr>
            <a:r>
              <a:rPr lang="en-GB" sz="1799" b="1" dirty="0">
                <a:solidFill>
                  <a:srgbClr val="000000"/>
                </a:solidFill>
                <a:latin typeface="Arial"/>
              </a:rPr>
              <a:t>HIRE</a:t>
            </a:r>
          </a:p>
        </p:txBody>
      </p:sp>
      <p:sp>
        <p:nvSpPr>
          <p:cNvPr id="14" name="TextBox 13"/>
          <p:cNvSpPr txBox="1">
            <a:spLocks/>
          </p:cNvSpPr>
          <p:nvPr/>
        </p:nvSpPr>
        <p:spPr>
          <a:xfrm>
            <a:off x="775827" y="1163634"/>
            <a:ext cx="9460993" cy="8111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 anchor="t">
            <a:noAutofit/>
          </a:bodyPr>
          <a:lstStyle/>
          <a:p>
            <a:pPr algn="ctr" defTabSz="914126"/>
            <a:r>
              <a:rPr lang="en-GB" sz="1050" b="1" u="sng" dirty="0">
                <a:solidFill>
                  <a:srgbClr val="000000"/>
                </a:solidFill>
                <a:cs typeface="Calibri" panose="020F0502020204030204" pitchFamily="34" charset="0"/>
              </a:rPr>
              <a:t>2023 Target</a:t>
            </a:r>
          </a:p>
          <a:p>
            <a:pPr marL="171399" indent="-171399" defTabSz="914126">
              <a:buFont typeface="Arial" panose="020B0604020202020204" pitchFamily="34" charset="0"/>
              <a:buChar char="•"/>
            </a:pPr>
            <a:r>
              <a:rPr lang="en-GB" sz="1050" dirty="0">
                <a:solidFill>
                  <a:srgbClr val="000000"/>
                </a:solidFill>
                <a:cs typeface="Calibri" panose="020F0502020204030204" pitchFamily="34" charset="0"/>
              </a:rPr>
              <a:t>Female representation for every role advertised</a:t>
            </a:r>
          </a:p>
          <a:p>
            <a:pPr marL="171399" indent="-171399" defTabSz="914126">
              <a:buFont typeface="Arial" panose="020B0604020202020204" pitchFamily="34" charset="0"/>
              <a:buChar char="•"/>
            </a:pPr>
            <a:r>
              <a:rPr lang="en-GB" sz="1050" dirty="0">
                <a:solidFill>
                  <a:srgbClr val="000000"/>
                </a:solidFill>
                <a:cs typeface="Calibri" panose="020F0502020204030204" pitchFamily="34" charset="0"/>
              </a:rPr>
              <a:t>100% unbiased resourcing practices, including: equal opportunities; gender mixed agencies; mix of male and female assessors; recruitment training for hiring managers</a:t>
            </a:r>
          </a:p>
          <a:p>
            <a:pPr marL="171399" indent="-171399" defTabSz="914126">
              <a:buFont typeface="Arial" panose="020B0604020202020204" pitchFamily="34" charset="0"/>
              <a:buChar char="•"/>
            </a:pPr>
            <a:endParaRPr lang="en-GB" sz="800" dirty="0">
              <a:solidFill>
                <a:srgbClr val="000000"/>
              </a:solidFill>
            </a:endParaRPr>
          </a:p>
          <a:p>
            <a:pPr defTabSz="914126"/>
            <a:endParaRPr lang="en-GB" sz="800" dirty="0">
              <a:solidFill>
                <a:srgbClr val="000000"/>
              </a:solidFill>
            </a:endParaRPr>
          </a:p>
          <a:p>
            <a:pPr defTabSz="914126"/>
            <a:endParaRPr lang="en-GB" sz="800" dirty="0">
              <a:solidFill>
                <a:srgbClr val="FF0000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733629" y="831870"/>
            <a:ext cx="1399807" cy="174615"/>
          </a:xfrm>
          <a:prstGeom prst="rect">
            <a:avLst/>
          </a:prstGeom>
          <a:noFill/>
        </p:spPr>
        <p:txBody>
          <a:bodyPr wrap="square" lIns="91416" tIns="0" rIns="91416" bIns="0" rtlCol="0">
            <a:noAutofit/>
          </a:bodyPr>
          <a:lstStyle/>
          <a:p>
            <a:pPr defTabSz="914126"/>
            <a:r>
              <a:rPr lang="en-GB" sz="1799" b="1" dirty="0">
                <a:solidFill>
                  <a:srgbClr val="000000"/>
                </a:solidFill>
                <a:latin typeface="Arial"/>
              </a:rPr>
              <a:t>GOAL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648568" y="2112741"/>
            <a:ext cx="1399807" cy="206926"/>
          </a:xfrm>
          <a:prstGeom prst="rect">
            <a:avLst/>
          </a:prstGeom>
          <a:noFill/>
        </p:spPr>
        <p:txBody>
          <a:bodyPr wrap="square" lIns="91416" tIns="0" rIns="91416" bIns="0" rtlCol="0">
            <a:noAutofit/>
          </a:bodyPr>
          <a:lstStyle/>
          <a:p>
            <a:pPr defTabSz="914126"/>
            <a:r>
              <a:rPr lang="en-GB" sz="1799" b="1" dirty="0">
                <a:solidFill>
                  <a:srgbClr val="000000"/>
                </a:solidFill>
                <a:latin typeface="Arial"/>
              </a:rPr>
              <a:t>RESULTS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AFB335ED-E4DB-5FDB-973A-3E11E593B4A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3629" y="2457609"/>
            <a:ext cx="4574351" cy="2221765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BCE5F4CC-46CB-A5A3-7521-19F9F7839CB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58698" y="2445928"/>
            <a:ext cx="4778122" cy="222176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A3AD3E8-3481-4891-8C76-FE9AF1286E3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91966" y="4836675"/>
            <a:ext cx="4257675" cy="66675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77081E1-C1EC-18BA-BC9E-E0BA122E103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718921" y="4836665"/>
            <a:ext cx="4257675" cy="666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68443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9" name="Picture 7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7578" y="56813"/>
            <a:ext cx="1059698" cy="10015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5843" name="Picture 15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1143" y="16960"/>
            <a:ext cx="2090193" cy="7919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135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</p:pic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300594" y="192780"/>
            <a:ext cx="8009968" cy="569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14126">
              <a:lnSpc>
                <a:spcPts val="2399"/>
              </a:lnSpc>
              <a:defRPr/>
            </a:pPr>
            <a:r>
              <a:rPr lang="en-US" sz="2799" b="1" dirty="0">
                <a:solidFill>
                  <a:srgbClr val="000000"/>
                </a:solidFill>
                <a:latin typeface="Georgia"/>
                <a:ea typeface="ＭＳ Ｐゴシック" pitchFamily="34" charset="-128"/>
              </a:rPr>
              <a:t>Women in Finance Charter - 2023</a:t>
            </a:r>
            <a:endParaRPr lang="en-US" sz="2799" b="1" kern="0" dirty="0">
              <a:solidFill>
                <a:srgbClr val="000000"/>
              </a:solidFill>
              <a:latin typeface="Georgia"/>
              <a:ea typeface="ＭＳ Ｐゴシック" charset="-128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-701463" y="490443"/>
            <a:ext cx="686252" cy="466965"/>
          </a:xfrm>
          <a:prstGeom prst="rect">
            <a:avLst/>
          </a:prstGeom>
          <a:noFill/>
          <a:scene3d>
            <a:camera prst="orthographicFront">
              <a:rot lat="0" lon="0" rev="0"/>
            </a:camera>
            <a:lightRig rig="threePt" dir="t"/>
          </a:scene3d>
        </p:spPr>
        <p:txBody>
          <a:bodyPr>
            <a:spAutoFit/>
          </a:bodyPr>
          <a:lstStyle/>
          <a:p>
            <a:pPr algn="ctr" defTabSz="914126">
              <a:defRPr/>
            </a:pPr>
            <a:r>
              <a:rPr lang="en-GB" sz="1799" b="1" dirty="0">
                <a:solidFill>
                  <a:srgbClr val="000000"/>
                </a:solidFill>
                <a:latin typeface="Arial"/>
              </a:rPr>
              <a:t>ENGAGE</a:t>
            </a:r>
          </a:p>
        </p:txBody>
      </p:sp>
      <p:sp>
        <p:nvSpPr>
          <p:cNvPr id="12" name="TextBox 11"/>
          <p:cNvSpPr txBox="1">
            <a:spLocks/>
          </p:cNvSpPr>
          <p:nvPr/>
        </p:nvSpPr>
        <p:spPr>
          <a:xfrm>
            <a:off x="723398" y="1205365"/>
            <a:ext cx="10338612" cy="810076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square" rtlCol="0">
            <a:noAutofit/>
          </a:bodyPr>
          <a:lstStyle/>
          <a:p>
            <a:pPr algn="ctr" defTabSz="914126"/>
            <a:r>
              <a:rPr lang="en-GB" sz="1050" b="1" u="sng" dirty="0">
                <a:solidFill>
                  <a:srgbClr val="000000"/>
                </a:solidFill>
                <a:cs typeface="Calibri" panose="020F0502020204030204" pitchFamily="34" charset="0"/>
              </a:rPr>
              <a:t>2023 Target</a:t>
            </a:r>
          </a:p>
          <a:p>
            <a:pPr marL="171399" indent="-171399" defTabSz="914126">
              <a:buFont typeface="Arial" panose="020B0604020202020204" pitchFamily="34" charset="0"/>
              <a:buChar char="•"/>
            </a:pPr>
            <a:r>
              <a:rPr lang="en-GB" sz="1050" dirty="0">
                <a:solidFill>
                  <a:srgbClr val="000000"/>
                </a:solidFill>
                <a:cs typeface="Calibri" panose="020F0502020204030204" pitchFamily="34" charset="0"/>
              </a:rPr>
              <a:t>Maintain of 50/50 split of male and female employees within UK Branch</a:t>
            </a:r>
          </a:p>
          <a:p>
            <a:pPr marL="171399" indent="-171399" defTabSz="914126">
              <a:buFont typeface="Arial" panose="020B0604020202020204" pitchFamily="34" charset="0"/>
              <a:buChar char="•"/>
            </a:pPr>
            <a:r>
              <a:rPr lang="en-GB" sz="1050" dirty="0">
                <a:solidFill>
                  <a:srgbClr val="000000"/>
                </a:solidFill>
                <a:cs typeface="Calibri" panose="020F0502020204030204" pitchFamily="34" charset="0"/>
              </a:rPr>
              <a:t>Target of 50% women people leaders at GG9 and above within UK Branch​</a:t>
            </a:r>
          </a:p>
          <a:p>
            <a:pPr marL="171399" indent="-171399" defTabSz="914126">
              <a:buFont typeface="Arial" panose="020B0604020202020204" pitchFamily="34" charset="0"/>
              <a:buChar char="•"/>
            </a:pPr>
            <a:r>
              <a:rPr lang="en-GB" sz="1050" dirty="0">
                <a:solidFill>
                  <a:srgbClr val="000000"/>
                </a:solidFill>
                <a:cs typeface="Calibri" panose="020F0502020204030204" pitchFamily="34" charset="0"/>
              </a:rPr>
              <a:t>Target of 33% women leaders at GG13 and above within UK Branch​​</a:t>
            </a:r>
          </a:p>
          <a:p>
            <a:pPr marL="171399" indent="-171399" defTabSz="914126">
              <a:buFont typeface="Arial" panose="020B0604020202020204" pitchFamily="34" charset="0"/>
              <a:buChar char="•"/>
            </a:pPr>
            <a:endParaRPr lang="en-GB" sz="800" dirty="0">
              <a:solidFill>
                <a:srgbClr val="000000"/>
              </a:solidFill>
            </a:endParaRPr>
          </a:p>
          <a:p>
            <a:pPr defTabSz="914126"/>
            <a:endParaRPr lang="en-GB" sz="800" dirty="0">
              <a:solidFill>
                <a:srgbClr val="000000"/>
              </a:solidFill>
            </a:endParaRPr>
          </a:p>
          <a:p>
            <a:pPr defTabSz="914126"/>
            <a:endParaRPr lang="en-GB" sz="800" dirty="0">
              <a:solidFill>
                <a:srgbClr val="FF0000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723398" y="824857"/>
            <a:ext cx="1399807" cy="233527"/>
          </a:xfrm>
          <a:prstGeom prst="rect">
            <a:avLst/>
          </a:prstGeom>
          <a:noFill/>
        </p:spPr>
        <p:txBody>
          <a:bodyPr wrap="square" lIns="91416" tIns="0" rIns="91416" bIns="0" rtlCol="0">
            <a:noAutofit/>
          </a:bodyPr>
          <a:lstStyle/>
          <a:p>
            <a:pPr defTabSz="914126"/>
            <a:r>
              <a:rPr lang="en-GB" sz="1799" b="1" dirty="0">
                <a:solidFill>
                  <a:srgbClr val="000000"/>
                </a:solidFill>
                <a:latin typeface="Arial"/>
              </a:rPr>
              <a:t>GOAL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613589" y="2372866"/>
            <a:ext cx="1399807" cy="206926"/>
          </a:xfrm>
          <a:prstGeom prst="rect">
            <a:avLst/>
          </a:prstGeom>
          <a:noFill/>
        </p:spPr>
        <p:txBody>
          <a:bodyPr wrap="square" lIns="91416" tIns="0" rIns="91416" bIns="0" rtlCol="0">
            <a:noAutofit/>
          </a:bodyPr>
          <a:lstStyle/>
          <a:p>
            <a:pPr defTabSz="914126"/>
            <a:r>
              <a:rPr lang="en-GB" sz="1799" b="1" dirty="0">
                <a:solidFill>
                  <a:srgbClr val="000000"/>
                </a:solidFill>
                <a:latin typeface="Arial"/>
              </a:rPr>
              <a:t>RESULTS</a:t>
            </a:r>
          </a:p>
        </p:txBody>
      </p:sp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1916D5CB-3209-2FAD-DDDC-79A23BA9A9C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47899433"/>
              </p:ext>
            </p:extLst>
          </p:nvPr>
        </p:nvGraphicFramePr>
        <p:xfrm>
          <a:off x="4119177" y="2756703"/>
          <a:ext cx="3578578" cy="21108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7" name="Chart 26">
            <a:extLst>
              <a:ext uri="{FF2B5EF4-FFF2-40B4-BE49-F238E27FC236}">
                <a16:creationId xmlns:a16="http://schemas.microsoft.com/office/drawing/2014/main" id="{0CC77E70-BC4F-4D8B-AEAE-1585C928F1C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0161881"/>
              </p:ext>
            </p:extLst>
          </p:nvPr>
        </p:nvGraphicFramePr>
        <p:xfrm>
          <a:off x="701463" y="2737868"/>
          <a:ext cx="3362987" cy="21297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TextBox 17">
            <a:extLst>
              <a:ext uri="{FF2B5EF4-FFF2-40B4-BE49-F238E27FC236}">
                <a16:creationId xmlns:a16="http://schemas.microsoft.com/office/drawing/2014/main" id="{B1D24197-D768-1EA5-0F96-3E009DC973B9}"/>
              </a:ext>
            </a:extLst>
          </p:cNvPr>
          <p:cNvSpPr txBox="1"/>
          <p:nvPr/>
        </p:nvSpPr>
        <p:spPr>
          <a:xfrm>
            <a:off x="8611143" y="3812150"/>
            <a:ext cx="914400" cy="914400"/>
          </a:xfrm>
          <a:prstGeom prst="rect">
            <a:avLst/>
          </a:prstGeom>
          <a:noFill/>
        </p:spPr>
        <p:txBody>
          <a:bodyPr wrap="none" lIns="91440" tIns="0" rIns="91440" bIns="0" rtlCol="0">
            <a:noAutofit/>
          </a:bodyPr>
          <a:lstStyle/>
          <a:p>
            <a:endParaRPr lang="en-GB" sz="2200" dirty="0"/>
          </a:p>
        </p:txBody>
      </p:sp>
      <p:graphicFrame>
        <p:nvGraphicFramePr>
          <p:cNvPr id="28" name="Chart 27">
            <a:extLst>
              <a:ext uri="{FF2B5EF4-FFF2-40B4-BE49-F238E27FC236}">
                <a16:creationId xmlns:a16="http://schemas.microsoft.com/office/drawing/2014/main" id="{A0B0B1F5-C06C-E3F9-D660-D284DD29D1F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83288783"/>
              </p:ext>
            </p:extLst>
          </p:nvPr>
        </p:nvGraphicFramePr>
        <p:xfrm>
          <a:off x="7752482" y="2756703"/>
          <a:ext cx="3578578" cy="21108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9" name="TextBox 28">
            <a:extLst>
              <a:ext uri="{FF2B5EF4-FFF2-40B4-BE49-F238E27FC236}">
                <a16:creationId xmlns:a16="http://schemas.microsoft.com/office/drawing/2014/main" id="{71E7E94F-6FCC-2835-459B-F21FB2B982B0}"/>
              </a:ext>
            </a:extLst>
          </p:cNvPr>
          <p:cNvSpPr txBox="1"/>
          <p:nvPr/>
        </p:nvSpPr>
        <p:spPr>
          <a:xfrm>
            <a:off x="7730902" y="3270219"/>
            <a:ext cx="914400" cy="383150"/>
          </a:xfrm>
          <a:prstGeom prst="rect">
            <a:avLst/>
          </a:prstGeom>
          <a:noFill/>
        </p:spPr>
        <p:txBody>
          <a:bodyPr wrap="none" lIns="91440" tIns="0" rIns="91440" bIns="0" rtlCol="0">
            <a:noAutofit/>
          </a:bodyPr>
          <a:lstStyle/>
          <a:p>
            <a:r>
              <a:rPr lang="en-GB" sz="900" dirty="0">
                <a:cs typeface="Calibri" panose="020F0502020204030204" pitchFamily="34" charset="0"/>
              </a:rPr>
              <a:t>Target of 33% </a:t>
            </a:r>
          </a:p>
          <a:p>
            <a:r>
              <a:rPr lang="en-GB" sz="900" dirty="0">
                <a:cs typeface="Calibri" panose="020F0502020204030204" pitchFamily="34" charset="0"/>
              </a:rPr>
              <a:t>Women</a:t>
            </a:r>
          </a:p>
          <a:p>
            <a:r>
              <a:rPr lang="en-GB" sz="900" dirty="0">
                <a:cs typeface="Calibri" panose="020F0502020204030204" pitchFamily="34" charset="0"/>
              </a:rPr>
              <a:t>leaders </a:t>
            </a:r>
          </a:p>
          <a:p>
            <a:r>
              <a:rPr lang="en-GB" sz="900" dirty="0">
                <a:cs typeface="Calibri" panose="020F0502020204030204" pitchFamily="34" charset="0"/>
              </a:rPr>
              <a:t>at GG13+</a:t>
            </a:r>
            <a:r>
              <a:rPr lang="en-GB" sz="900" baseline="0" dirty="0">
                <a:cs typeface="Calibri" panose="020F0502020204030204" pitchFamily="34" charset="0"/>
              </a:rPr>
              <a:t> </a:t>
            </a:r>
            <a:endParaRPr lang="en-GB" sz="900" dirty="0">
              <a:cs typeface="Calibri" panose="020F0502020204030204" pitchFamily="34" charset="0"/>
            </a:endParaRPr>
          </a:p>
          <a:p>
            <a:endParaRPr lang="en-GB" sz="22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9A96202-C9A5-8F39-2851-8795A1C7861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1462" y="5020770"/>
            <a:ext cx="3275113" cy="66675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9DE7485-0A4C-95CF-EB9F-E4A0E0C5423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064450" y="5020770"/>
            <a:ext cx="3578578" cy="66675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8756784-EA2B-2BB9-9C2D-57D1B8A3644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52482" y="4993839"/>
            <a:ext cx="3562350" cy="666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99739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9" name="Picture 7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7578" y="56813"/>
            <a:ext cx="1059698" cy="10015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5843" name="Picture 15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1143" y="16960"/>
            <a:ext cx="2090193" cy="7919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135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</p:pic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300594" y="192780"/>
            <a:ext cx="8009968" cy="569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14126">
              <a:lnSpc>
                <a:spcPts val="2399"/>
              </a:lnSpc>
              <a:defRPr/>
            </a:pPr>
            <a:r>
              <a:rPr lang="en-US" sz="2799" b="1" dirty="0">
                <a:solidFill>
                  <a:srgbClr val="000000"/>
                </a:solidFill>
                <a:latin typeface="Georgia"/>
                <a:ea typeface="ＭＳ Ｐゴシック" pitchFamily="34" charset="-128"/>
              </a:rPr>
              <a:t>Women in Finance Charter - 2023</a:t>
            </a:r>
            <a:endParaRPr lang="en-US" sz="2799" b="1" kern="0" dirty="0">
              <a:solidFill>
                <a:srgbClr val="000000"/>
              </a:solidFill>
              <a:latin typeface="Georgia"/>
              <a:ea typeface="ＭＳ Ｐゴシック" charset="-128"/>
            </a:endParaRPr>
          </a:p>
        </p:txBody>
      </p:sp>
      <p:sp>
        <p:nvSpPr>
          <p:cNvPr id="2" name="TextBox 1"/>
          <p:cNvSpPr txBox="1"/>
          <p:nvPr/>
        </p:nvSpPr>
        <p:spPr>
          <a:xfrm rot="16200000">
            <a:off x="-1961151" y="1576673"/>
            <a:ext cx="5034636" cy="369236"/>
          </a:xfrm>
          <a:prstGeom prst="rect">
            <a:avLst/>
          </a:prstGeom>
          <a:noFill/>
          <a:scene3d>
            <a:camera prst="orthographicFront">
              <a:rot lat="0" lon="0" rev="0"/>
            </a:camera>
            <a:lightRig rig="threePt" dir="t"/>
          </a:scene3d>
        </p:spPr>
        <p:txBody>
          <a:bodyPr>
            <a:spAutoFit/>
          </a:bodyPr>
          <a:lstStyle/>
          <a:p>
            <a:pPr algn="ctr" defTabSz="914126">
              <a:defRPr/>
            </a:pPr>
            <a:r>
              <a:rPr lang="en-GB" sz="1799" b="1" dirty="0">
                <a:solidFill>
                  <a:srgbClr val="000000"/>
                </a:solidFill>
                <a:latin typeface="Arial"/>
              </a:rPr>
              <a:t>DEVOLOP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77435" y="1058384"/>
            <a:ext cx="1399807" cy="390162"/>
          </a:xfrm>
          <a:prstGeom prst="rect">
            <a:avLst/>
          </a:prstGeom>
          <a:noFill/>
        </p:spPr>
        <p:txBody>
          <a:bodyPr wrap="square" lIns="91416" tIns="0" rIns="91416" bIns="0" rtlCol="0">
            <a:noAutofit/>
          </a:bodyPr>
          <a:lstStyle/>
          <a:p>
            <a:pPr defTabSz="914126"/>
            <a:r>
              <a:rPr lang="en-GB" sz="1799" b="1" dirty="0">
                <a:solidFill>
                  <a:srgbClr val="000000"/>
                </a:solidFill>
                <a:latin typeface="Arial"/>
              </a:rPr>
              <a:t>GOAL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624471" y="2497386"/>
            <a:ext cx="1399807" cy="206926"/>
          </a:xfrm>
          <a:prstGeom prst="rect">
            <a:avLst/>
          </a:prstGeom>
          <a:noFill/>
        </p:spPr>
        <p:txBody>
          <a:bodyPr wrap="square" lIns="91416" tIns="0" rIns="91416" bIns="0" rtlCol="0">
            <a:noAutofit/>
          </a:bodyPr>
          <a:lstStyle/>
          <a:p>
            <a:pPr defTabSz="914126"/>
            <a:r>
              <a:rPr lang="en-GB" sz="1799" b="1" dirty="0">
                <a:solidFill>
                  <a:srgbClr val="000000"/>
                </a:solidFill>
                <a:latin typeface="Arial"/>
              </a:rPr>
              <a:t>RESULT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447B7D0-B87E-9EB6-4C2E-CAD6FF5D47AF}"/>
              </a:ext>
            </a:extLst>
          </p:cNvPr>
          <p:cNvSpPr txBox="1">
            <a:spLocks/>
          </p:cNvSpPr>
          <p:nvPr/>
        </p:nvSpPr>
        <p:spPr>
          <a:xfrm>
            <a:off x="753850" y="1448545"/>
            <a:ext cx="10338612" cy="747469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square" rtlCol="0">
            <a:noAutofit/>
          </a:bodyPr>
          <a:lstStyle/>
          <a:p>
            <a:pPr algn="ctr" defTabSz="914126"/>
            <a:r>
              <a:rPr lang="en-GB" sz="1050" b="1" u="sng" dirty="0">
                <a:solidFill>
                  <a:srgbClr val="000000"/>
                </a:solidFill>
                <a:cs typeface="Calibri" panose="020F0502020204030204" pitchFamily="34" charset="0"/>
              </a:rPr>
              <a:t>2023 Target</a:t>
            </a:r>
          </a:p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r>
              <a:rPr lang="en-GB" sz="1050" dirty="0">
                <a:solidFill>
                  <a:srgbClr val="000000"/>
                </a:solidFill>
                <a:ea typeface="ＭＳ Ｐゴシック" pitchFamily="34" charset="-128"/>
                <a:cs typeface="Calibri" panose="020F0502020204030204" pitchFamily="34" charset="0"/>
              </a:rPr>
              <a:t>Target of 50% women in Exec-1 Accelerate and Progression Talent</a:t>
            </a:r>
          </a:p>
          <a:p>
            <a:pPr marL="285664" indent="-285664" defTabSz="914126">
              <a:buFont typeface="Arial" panose="020B0604020202020204" pitchFamily="34" charset="0"/>
              <a:buChar char="•"/>
              <a:defRPr/>
            </a:pPr>
            <a:r>
              <a:rPr lang="en-GB" sz="1050" dirty="0">
                <a:solidFill>
                  <a:srgbClr val="000000"/>
                </a:solidFill>
                <a:ea typeface="ＭＳ Ｐゴシック" pitchFamily="34" charset="-128"/>
                <a:cs typeface="Calibri" panose="020F0502020204030204" pitchFamily="34" charset="0"/>
              </a:rPr>
              <a:t>Maintain of 50/50 split of male/female attendance at developmental events and training</a:t>
            </a:r>
          </a:p>
          <a:p>
            <a:pPr defTabSz="914126"/>
            <a:endParaRPr lang="en-GB" sz="800" dirty="0">
              <a:solidFill>
                <a:srgbClr val="000000"/>
              </a:solidFill>
            </a:endParaRPr>
          </a:p>
          <a:p>
            <a:pPr defTabSz="914126"/>
            <a:endParaRPr lang="en-GB" sz="800" dirty="0">
              <a:solidFill>
                <a:srgbClr val="FF0000"/>
              </a:solidFill>
            </a:endParaRPr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DD1EF6FB-BC24-907B-D768-A7DEDAD2F8F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34269956"/>
              </p:ext>
            </p:extLst>
          </p:nvPr>
        </p:nvGraphicFramePr>
        <p:xfrm>
          <a:off x="681575" y="2854950"/>
          <a:ext cx="5009755" cy="24454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08B38922-4D76-78F3-4BEB-46B5264387A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3906" y="5409455"/>
            <a:ext cx="4645091" cy="666750"/>
          </a:xfrm>
          <a:prstGeom prst="rect">
            <a:avLst/>
          </a:prstGeom>
        </p:spPr>
      </p:pic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B57235C6-4C52-E244-9369-4BED9E2B81C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57538276"/>
              </p:ext>
            </p:extLst>
          </p:nvPr>
        </p:nvGraphicFramePr>
        <p:xfrm>
          <a:off x="5799221" y="2835642"/>
          <a:ext cx="5009755" cy="24647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pic>
        <p:nvPicPr>
          <p:cNvPr id="17" name="Picture 16">
            <a:extLst>
              <a:ext uri="{FF2B5EF4-FFF2-40B4-BE49-F238E27FC236}">
                <a16:creationId xmlns:a16="http://schemas.microsoft.com/office/drawing/2014/main" id="{FEBE4955-CDB5-AD2C-D24D-80D61D9672B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881687" y="5412232"/>
            <a:ext cx="4857750" cy="666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7312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Theme">
  <a:themeElements>
    <a:clrScheme name="Met Life Main">
      <a:dk1>
        <a:srgbClr val="000000"/>
      </a:dk1>
      <a:lt1>
        <a:srgbClr val="FFFFFF"/>
      </a:lt1>
      <a:dk2>
        <a:srgbClr val="00A3AD"/>
      </a:dk2>
      <a:lt2>
        <a:srgbClr val="75787B"/>
      </a:lt2>
      <a:accent1>
        <a:srgbClr val="0061A0"/>
      </a:accent1>
      <a:accent2>
        <a:srgbClr val="0090DA"/>
      </a:accent2>
      <a:accent3>
        <a:srgbClr val="A3CE4E"/>
      </a:accent3>
      <a:accent4>
        <a:srgbClr val="FFC600"/>
      </a:accent4>
      <a:accent5>
        <a:srgbClr val="6024A9"/>
      </a:accent5>
      <a:accent6>
        <a:srgbClr val="DB0A5B"/>
      </a:accent6>
      <a:hlink>
        <a:srgbClr val="0000FF"/>
      </a:hlink>
      <a:folHlink>
        <a:srgbClr val="CDCBCB"/>
      </a:folHlink>
    </a:clrScheme>
    <a:fontScheme name="MetLife Generic">
      <a:majorFont>
        <a:latin typeface="Georgia Bold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sz="2000" smtClean="0">
            <a:solidFill>
              <a:schemeClr val="bg1"/>
            </a:solidFill>
            <a:cs typeface="Open Sans Bold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2">
              <a:lumMod val="60000"/>
              <a:lumOff val="4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defTabSz="456758" fontAlgn="base">
          <a:spcBef>
            <a:spcPts val="1200"/>
          </a:spcBef>
          <a:defRPr dirty="0" err="1" smtClean="0">
            <a:solidFill>
              <a:schemeClr val="bg2"/>
            </a:solidFill>
            <a:ea typeface="MetLife Circular Light" charset="0"/>
            <a:cs typeface="MetLife Circular Light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Default Theme">
  <a:themeElements>
    <a:clrScheme name="MetLife v2">
      <a:dk1>
        <a:srgbClr val="000000"/>
      </a:dk1>
      <a:lt1>
        <a:srgbClr val="FFFFFF"/>
      </a:lt1>
      <a:dk2>
        <a:srgbClr val="DB0A5B"/>
      </a:dk2>
      <a:lt2>
        <a:srgbClr val="6025A9"/>
      </a:lt2>
      <a:accent1>
        <a:srgbClr val="A3CE4E"/>
      </a:accent1>
      <a:accent2>
        <a:srgbClr val="0090DA"/>
      </a:accent2>
      <a:accent3>
        <a:srgbClr val="0061A0"/>
      </a:accent3>
      <a:accent4>
        <a:srgbClr val="FFC600"/>
      </a:accent4>
      <a:accent5>
        <a:srgbClr val="00A3AD"/>
      </a:accent5>
      <a:accent6>
        <a:srgbClr val="75787B"/>
      </a:accent6>
      <a:hlink>
        <a:srgbClr val="0563C1"/>
      </a:hlink>
      <a:folHlink>
        <a:srgbClr val="954F72"/>
      </a:folHlink>
    </a:clrScheme>
    <a:fontScheme name="MetLife v2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1440" tIns="0" rIns="91440" bIns="0" rtlCol="0">
        <a:noAutofit/>
      </a:bodyPr>
      <a:lstStyle>
        <a:defPPr>
          <a:defRPr sz="2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438</TotalTime>
  <Words>226</Words>
  <Application>Microsoft Office PowerPoint</Application>
  <PresentationFormat>Custom</PresentationFormat>
  <Paragraphs>44</Paragraphs>
  <Slides>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3" baseType="lpstr">
      <vt:lpstr>.AppleSystemUIFont</vt:lpstr>
      <vt:lpstr>Arial</vt:lpstr>
      <vt:lpstr>Calibri</vt:lpstr>
      <vt:lpstr>Georgia</vt:lpstr>
      <vt:lpstr>Georgia Bold</vt:lpstr>
      <vt:lpstr>Lucida Grande</vt:lpstr>
      <vt:lpstr>MetLife Circular</vt:lpstr>
      <vt:lpstr>Default Theme</vt:lpstr>
      <vt:lpstr>1_Default Theme</vt:lpstr>
      <vt:lpstr>think-cell Slide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ulianne Warren</dc:creator>
  <cp:lastModifiedBy>Lamb, Agnieszka</cp:lastModifiedBy>
  <cp:revision>460</cp:revision>
  <cp:lastPrinted>2017-12-21T22:19:51Z</cp:lastPrinted>
  <dcterms:created xsi:type="dcterms:W3CDTF">2017-02-15T20:37:04Z</dcterms:created>
  <dcterms:modified xsi:type="dcterms:W3CDTF">2023-09-27T13:33:45Z</dcterms:modified>
</cp:coreProperties>
</file>